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420" r:id="rId5"/>
    <p:sldId id="608" r:id="rId6"/>
    <p:sldId id="620" r:id="rId7"/>
    <p:sldId id="619" r:id="rId8"/>
    <p:sldId id="594" r:id="rId9"/>
    <p:sldId id="625" r:id="rId10"/>
    <p:sldId id="551" r:id="rId11"/>
    <p:sldId id="614" r:id="rId12"/>
    <p:sldId id="617" r:id="rId13"/>
    <p:sldId id="588" r:id="rId14"/>
    <p:sldId id="601" r:id="rId15"/>
    <p:sldId id="613" r:id="rId16"/>
    <p:sldId id="622" r:id="rId17"/>
    <p:sldId id="621" r:id="rId18"/>
    <p:sldId id="605" r:id="rId19"/>
    <p:sldId id="623" r:id="rId20"/>
    <p:sldId id="624" r:id="rId21"/>
    <p:sldId id="615" r:id="rId22"/>
    <p:sldId id="589" r:id="rId23"/>
  </p:sldIdLst>
  <p:sldSz cx="9144000" cy="5143500" type="screen16x9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4">
          <p15:clr>
            <a:srgbClr val="A4A3A4"/>
          </p15:clr>
        </p15:guide>
        <p15:guide id="2" orient="horz" pos="2835" userDrawn="1">
          <p15:clr>
            <a:srgbClr val="A4A3A4"/>
          </p15:clr>
        </p15:guide>
        <p15:guide id="3" orient="horz" pos="864">
          <p15:clr>
            <a:srgbClr val="A4A3A4"/>
          </p15:clr>
        </p15:guide>
        <p15:guide id="4" pos="5472">
          <p15:clr>
            <a:srgbClr val="A4A3A4"/>
          </p15:clr>
        </p15:guide>
        <p15:guide id="5" pos="2937">
          <p15:clr>
            <a:srgbClr val="A4A3A4"/>
          </p15:clr>
        </p15:guide>
        <p15:guide id="6" pos="288">
          <p15:clr>
            <a:srgbClr val="A4A3A4"/>
          </p15:clr>
        </p15:guide>
        <p15:guide id="7" pos="28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lkaid Benomar, Abdeluahed" initials="BBA" lastIdx="8" clrIdx="0">
    <p:extLst>
      <p:ext uri="{19B8F6BF-5375-455C-9EA6-DF929625EA0E}">
        <p15:presenceInfo xmlns:p15="http://schemas.microsoft.com/office/powerpoint/2012/main" userId="S-1-5-21-329068152-854245398-839522115-2038480" providerId="AD"/>
      </p:ext>
    </p:extLst>
  </p:cmAuthor>
  <p:cmAuthor id="2" name="Abdeluahed" initials="A" lastIdx="3" clrIdx="1">
    <p:extLst>
      <p:ext uri="{19B8F6BF-5375-455C-9EA6-DF929625EA0E}">
        <p15:presenceInfo xmlns:p15="http://schemas.microsoft.com/office/powerpoint/2012/main" userId="S::BELKAAD1@novartis.net::79eb0954-55a3-41df-9a30-c72db1cda7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BEBEB"/>
    <a:srgbClr val="023760"/>
    <a:srgbClr val="FF9900"/>
    <a:srgbClr val="E0D2AC"/>
    <a:srgbClr val="9ABFDC"/>
    <a:srgbClr val="5291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C5780E6-A8F4-46B0-B82D-9E7F56C639EF}">
  <a:tblStyle styleId="{1C5780E6-A8F4-46B0-B82D-9E7F56C639EF}" styleName="Novartis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646464"/>
              </a:solidFill>
            </a:ln>
          </a:top>
          <a:bottom>
            <a:ln w="6350">
              <a:solidFill>
                <a:srgbClr val="646464"/>
              </a:solidFill>
            </a:ln>
          </a:bottom>
          <a:insideH>
            <a:ln w="6350">
              <a:solidFill>
                <a:srgbClr val="64646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 b="on">
        <a:fontRef idx="minor"/>
        <a:srgbClr val="000000"/>
      </a:tcTxStyle>
      <a:tcStyle>
        <a:tcBdr/>
      </a:tcStyle>
    </a:lastCol>
    <a:firstCol>
      <a:tcTxStyle b="on">
        <a:fontRef idx="minor"/>
        <a:srgbClr val="000000"/>
      </a:tcTxStyle>
      <a:tcStyle>
        <a:tcBdr/>
      </a:tcStyle>
    </a:firstCol>
    <a:lastRow>
      <a:tcTxStyle b="on">
        <a:fontRef idx="min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rgbClr val="0460A9"/>
      </a:tcTxStyle>
      <a:tcStyle>
        <a:tcBdr>
          <a:top>
            <a:ln>
              <a:noFill/>
            </a:ln>
          </a:top>
          <a:bottom>
            <a:ln w="19050">
              <a:solidFill>
                <a:srgbClr val="0460A9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39" autoAdjust="0"/>
    <p:restoredTop sz="94126"/>
  </p:normalViewPr>
  <p:slideViewPr>
    <p:cSldViewPr showGuides="1">
      <p:cViewPr varScale="1">
        <p:scale>
          <a:sx n="77" d="100"/>
          <a:sy n="77" d="100"/>
        </p:scale>
        <p:origin x="1000" y="112"/>
      </p:cViewPr>
      <p:guideLst>
        <p:guide orient="horz" pos="214"/>
        <p:guide orient="horz" pos="2835"/>
        <p:guide orient="horz" pos="864"/>
        <p:guide pos="5472"/>
        <p:guide pos="2937"/>
        <p:guide pos="288"/>
        <p:guide pos="28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65" d="100"/>
          <a:sy n="165" d="100"/>
        </p:scale>
        <p:origin x="4104" y="19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amoros, Eric" userId="7a10a9b0-7cd3-411b-b323-28f940d6dafa" providerId="ADAL" clId="{1EC2BAF6-7041-40FB-A31C-9F3EA475A9C3}"/>
    <pc:docChg chg="undo custSel addSld delSld modSld sldOrd">
      <pc:chgData name="Matamoros, Eric" userId="7a10a9b0-7cd3-411b-b323-28f940d6dafa" providerId="ADAL" clId="{1EC2BAF6-7041-40FB-A31C-9F3EA475A9C3}" dt="2022-09-26T13:43:21.573" v="3899" actId="47"/>
      <pc:docMkLst>
        <pc:docMk/>
      </pc:docMkLst>
      <pc:sldChg chg="addSp delSp modSp mod">
        <pc:chgData name="Matamoros, Eric" userId="7a10a9b0-7cd3-411b-b323-28f940d6dafa" providerId="ADAL" clId="{1EC2BAF6-7041-40FB-A31C-9F3EA475A9C3}" dt="2022-09-25T08:04:00.486" v="177" actId="20577"/>
        <pc:sldMkLst>
          <pc:docMk/>
          <pc:sldMk cId="391943920" sldId="420"/>
        </pc:sldMkLst>
        <pc:spChg chg="mod">
          <ac:chgData name="Matamoros, Eric" userId="7a10a9b0-7cd3-411b-b323-28f940d6dafa" providerId="ADAL" clId="{1EC2BAF6-7041-40FB-A31C-9F3EA475A9C3}" dt="2022-09-25T08:03:47.536" v="126" actId="948"/>
          <ac:spMkLst>
            <pc:docMk/>
            <pc:sldMk cId="391943920" sldId="420"/>
            <ac:spMk id="3" creationId="{00000000-0000-0000-0000-000000000000}"/>
          </ac:spMkLst>
        </pc:spChg>
        <pc:spChg chg="add del mod modVis">
          <ac:chgData name="Matamoros, Eric" userId="7a10a9b0-7cd3-411b-b323-28f940d6dafa" providerId="ADAL" clId="{1EC2BAF6-7041-40FB-A31C-9F3EA475A9C3}" dt="2022-09-25T08:03:39.516" v="48"/>
          <ac:spMkLst>
            <pc:docMk/>
            <pc:sldMk cId="391943920" sldId="420"/>
            <ac:spMk id="4" creationId="{051669F2-A056-49A8-ADFD-A572D63B3E6A}"/>
          </ac:spMkLst>
        </pc:spChg>
        <pc:spChg chg="mod">
          <ac:chgData name="Matamoros, Eric" userId="7a10a9b0-7cd3-411b-b323-28f940d6dafa" providerId="ADAL" clId="{1EC2BAF6-7041-40FB-A31C-9F3EA475A9C3}" dt="2022-09-25T08:04:00.486" v="177" actId="20577"/>
          <ac:spMkLst>
            <pc:docMk/>
            <pc:sldMk cId="391943920" sldId="420"/>
            <ac:spMk id="6" creationId="{0F02EB36-0137-47B7-BEF3-A0917BFD6A22}"/>
          </ac:spMkLst>
        </pc:spChg>
        <pc:spChg chg="add del mod modVis">
          <ac:chgData name="Matamoros, Eric" userId="7a10a9b0-7cd3-411b-b323-28f940d6dafa" providerId="ADAL" clId="{1EC2BAF6-7041-40FB-A31C-9F3EA475A9C3}" dt="2022-09-25T08:03:41.548" v="113"/>
          <ac:spMkLst>
            <pc:docMk/>
            <pc:sldMk cId="391943920" sldId="420"/>
            <ac:spMk id="7" creationId="{E91BCFF2-64C3-4030-AA1A-DC6E19B0F9BF}"/>
          </ac:spMkLst>
        </pc:spChg>
        <pc:spChg chg="add del mod modVis">
          <ac:chgData name="Matamoros, Eric" userId="7a10a9b0-7cd3-411b-b323-28f940d6dafa" providerId="ADAL" clId="{1EC2BAF6-7041-40FB-A31C-9F3EA475A9C3}" dt="2022-09-25T08:03:47.577" v="161"/>
          <ac:spMkLst>
            <pc:docMk/>
            <pc:sldMk cId="391943920" sldId="420"/>
            <ac:spMk id="8" creationId="{1045F508-C830-4E79-8792-505DAAB866A1}"/>
          </ac:spMkLst>
        </pc:spChg>
        <pc:graphicFrameChg chg="add mod ord modVis">
          <ac:chgData name="Matamoros, Eric" userId="7a10a9b0-7cd3-411b-b323-28f940d6dafa" providerId="ADAL" clId="{1EC2BAF6-7041-40FB-A31C-9F3EA475A9C3}" dt="2022-09-25T08:03:47.582" v="163"/>
          <ac:graphicFrameMkLst>
            <pc:docMk/>
            <pc:sldMk cId="391943920" sldId="420"/>
            <ac:graphicFrameMk id="5" creationId="{967147E9-230E-427B-8451-41DB7851E5DF}"/>
          </ac:graphicFrameMkLst>
        </pc:graphicFrameChg>
      </pc:sldChg>
      <pc:sldChg chg="del">
        <pc:chgData name="Matamoros, Eric" userId="7a10a9b0-7cd3-411b-b323-28f940d6dafa" providerId="ADAL" clId="{1EC2BAF6-7041-40FB-A31C-9F3EA475A9C3}" dt="2022-09-25T08:33:22.222" v="631" actId="47"/>
        <pc:sldMkLst>
          <pc:docMk/>
          <pc:sldMk cId="2387311624" sldId="508"/>
        </pc:sldMkLst>
      </pc:sldChg>
      <pc:sldChg chg="addSp delSp modSp mod">
        <pc:chgData name="Matamoros, Eric" userId="7a10a9b0-7cd3-411b-b323-28f940d6dafa" providerId="ADAL" clId="{1EC2BAF6-7041-40FB-A31C-9F3EA475A9C3}" dt="2022-09-26T13:41:58.824" v="3532"/>
        <pc:sldMkLst>
          <pc:docMk/>
          <pc:sldMk cId="66969063" sldId="551"/>
        </pc:sldMkLst>
        <pc:spChg chg="mod">
          <ac:chgData name="Matamoros, Eric" userId="7a10a9b0-7cd3-411b-b323-28f940d6dafa" providerId="ADAL" clId="{1EC2BAF6-7041-40FB-A31C-9F3EA475A9C3}" dt="2022-09-26T13:41:58.746" v="3495" actId="948"/>
          <ac:spMkLst>
            <pc:docMk/>
            <pc:sldMk cId="66969063" sldId="551"/>
            <ac:spMk id="2" creationId="{00000000-0000-0000-0000-000000000000}"/>
          </ac:spMkLst>
        </pc:spChg>
        <pc:spChg chg="add del mod modVis">
          <ac:chgData name="Matamoros, Eric" userId="7a10a9b0-7cd3-411b-b323-28f940d6dafa" providerId="ADAL" clId="{1EC2BAF6-7041-40FB-A31C-9F3EA475A9C3}" dt="2022-09-26T13:41:52.946" v="3412"/>
          <ac:spMkLst>
            <pc:docMk/>
            <pc:sldMk cId="66969063" sldId="551"/>
            <ac:spMk id="5" creationId="{AAF6D657-6B01-42B2-A96E-7BF6ECFC0D8C}"/>
          </ac:spMkLst>
        </pc:spChg>
        <pc:spChg chg="add del mod modVis">
          <ac:chgData name="Matamoros, Eric" userId="7a10a9b0-7cd3-411b-b323-28f940d6dafa" providerId="ADAL" clId="{1EC2BAF6-7041-40FB-A31C-9F3EA475A9C3}" dt="2022-09-26T13:41:53.632" v="3452"/>
          <ac:spMkLst>
            <pc:docMk/>
            <pc:sldMk cId="66969063" sldId="551"/>
            <ac:spMk id="6" creationId="{DB83C9EA-CE2C-4D90-A41B-B1D038C3DA36}"/>
          </ac:spMkLst>
        </pc:spChg>
        <pc:spChg chg="add del mod modVis">
          <ac:chgData name="Matamoros, Eric" userId="7a10a9b0-7cd3-411b-b323-28f940d6dafa" providerId="ADAL" clId="{1EC2BAF6-7041-40FB-A31C-9F3EA475A9C3}" dt="2022-09-26T13:41:54.422" v="3491"/>
          <ac:spMkLst>
            <pc:docMk/>
            <pc:sldMk cId="66969063" sldId="551"/>
            <ac:spMk id="7" creationId="{7923E197-B876-4494-AB3F-C6548F765B22}"/>
          </ac:spMkLst>
        </pc:spChg>
        <pc:spChg chg="add del mod modVis">
          <ac:chgData name="Matamoros, Eric" userId="7a10a9b0-7cd3-411b-b323-28f940d6dafa" providerId="ADAL" clId="{1EC2BAF6-7041-40FB-A31C-9F3EA475A9C3}" dt="2022-09-26T13:41:58.818" v="3530"/>
          <ac:spMkLst>
            <pc:docMk/>
            <pc:sldMk cId="66969063" sldId="551"/>
            <ac:spMk id="8" creationId="{412BE20E-1839-407F-B50F-2E102AD8D281}"/>
          </ac:spMkLst>
        </pc:spChg>
        <pc:graphicFrameChg chg="mod">
          <ac:chgData name="Matamoros, Eric" userId="7a10a9b0-7cd3-411b-b323-28f940d6dafa" providerId="ADAL" clId="{1EC2BAF6-7041-40FB-A31C-9F3EA475A9C3}" dt="2022-09-26T13:41:58.824" v="3532"/>
          <ac:graphicFrameMkLst>
            <pc:docMk/>
            <pc:sldMk cId="66969063" sldId="551"/>
            <ac:graphicFrameMk id="4" creationId="{00000000-0000-0000-0000-000000000000}"/>
          </ac:graphicFrameMkLst>
        </pc:graphicFrameChg>
      </pc:sldChg>
      <pc:sldChg chg="addSp delSp modSp mod">
        <pc:chgData name="Matamoros, Eric" userId="7a10a9b0-7cd3-411b-b323-28f940d6dafa" providerId="ADAL" clId="{1EC2BAF6-7041-40FB-A31C-9F3EA475A9C3}" dt="2022-09-25T09:07:39.412" v="2325" actId="20577"/>
        <pc:sldMkLst>
          <pc:docMk/>
          <pc:sldMk cId="3082434668" sldId="588"/>
        </pc:sldMkLst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22" creationId="{47E04E49-89AB-478A-8B63-57B702814E6A}"/>
          </ac:spMkLst>
        </pc:spChg>
        <pc:spChg chg="del">
          <ac:chgData name="Matamoros, Eric" userId="7a10a9b0-7cd3-411b-b323-28f940d6dafa" providerId="ADAL" clId="{1EC2BAF6-7041-40FB-A31C-9F3EA475A9C3}" dt="2022-09-25T08:06:32.342" v="257" actId="478"/>
          <ac:spMkLst>
            <pc:docMk/>
            <pc:sldMk cId="3082434668" sldId="588"/>
            <ac:spMk id="25" creationId="{E52C8B0F-02A8-4270-97AC-9C371335232F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26" creationId="{54084253-1F79-4FC4-A16A-AB73804E5FF9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27" creationId="{C598D1FC-63C0-4723-B3A0-FB726724C1CE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28" creationId="{0B765963-9207-4610-8110-87CE3F816D2F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30" creationId="{5F3EA73D-54E8-4DEE-8557-8E6974F87177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31" creationId="{00000000-0000-0000-0000-000000000000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35" creationId="{42659C11-EAD7-4265-B04B-C1529CE6242C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36" creationId="{6A283BEA-C676-4366-85BC-0230A1F13082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38" creationId="{985AC8F6-56B6-4DBF-ABEB-8C1FC8706DE4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39" creationId="{00000000-0000-0000-0000-000000000000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40" creationId="{F650E266-A8FA-4F9F-9355-FD5801447F21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41" creationId="{00000000-0000-0000-0000-000000000000}"/>
          </ac:spMkLst>
        </pc:spChg>
        <pc:spChg chg="del">
          <ac:chgData name="Matamoros, Eric" userId="7a10a9b0-7cd3-411b-b323-28f940d6dafa" providerId="ADAL" clId="{1EC2BAF6-7041-40FB-A31C-9F3EA475A9C3}" dt="2022-09-25T08:06:34.247" v="258" actId="478"/>
          <ac:spMkLst>
            <pc:docMk/>
            <pc:sldMk cId="3082434668" sldId="588"/>
            <ac:spMk id="42" creationId="{7EAD6668-8D31-465A-9CD9-10DE2CAF1F5B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44" creationId="{00000000-0000-0000-0000-000000000000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46" creationId="{0EFD10E3-DC44-41AA-A05B-E3AFBA710D71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47" creationId="{00000000-0000-0000-0000-000000000000}"/>
          </ac:spMkLst>
        </pc:spChg>
        <pc:spChg chg="add mod">
          <ac:chgData name="Matamoros, Eric" userId="7a10a9b0-7cd3-411b-b323-28f940d6dafa" providerId="ADAL" clId="{1EC2BAF6-7041-40FB-A31C-9F3EA475A9C3}" dt="2022-09-25T09:07:39.412" v="2325" actId="20577"/>
          <ac:spMkLst>
            <pc:docMk/>
            <pc:sldMk cId="3082434668" sldId="588"/>
            <ac:spMk id="48" creationId="{0AE2CFBE-FB8D-42EC-B671-0398D9766EC3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50" creationId="{6EB54EDA-BD8F-42A1-A295-FD876CC76116}"/>
          </ac:spMkLst>
        </pc:spChg>
        <pc:spChg chg="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52" creationId="{EEAEA40B-BAD3-447B-8B01-B943FD834CD6}"/>
          </ac:spMkLst>
        </pc:spChg>
        <pc:spChg chg="add del mod">
          <ac:chgData name="Matamoros, Eric" userId="7a10a9b0-7cd3-411b-b323-28f940d6dafa" providerId="ADAL" clId="{1EC2BAF6-7041-40FB-A31C-9F3EA475A9C3}" dt="2022-09-25T08:10:38.606" v="264" actId="1076"/>
          <ac:spMkLst>
            <pc:docMk/>
            <pc:sldMk cId="3082434668" sldId="588"/>
            <ac:spMk id="53" creationId="{804461C1-3DA3-479F-83C4-2623A5A3E506}"/>
          </ac:spMkLst>
        </pc:sp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7" creationId="{8C42CB2F-DC04-43E3-B368-04A241FB4BC8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23" creationId="{4432D885-0FAA-45C7-96B9-EC628A71BF4B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29" creationId="{6D713F28-7208-480C-8D37-A6153E004962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32" creationId="{7184AA35-AFBB-4006-ADCA-D53FC97542AE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33" creationId="{0AC385B4-7620-40E3-99A5-2A293B87AF69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34" creationId="{3BC3AE69-E826-470D-ADFC-4147E9F1D997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37" creationId="{F520C62E-AC4E-4C2A-934B-3674A9FC7ACB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43" creationId="{6375420B-48D8-420F-9FF1-37752DD32652}"/>
          </ac:cxnSpMkLst>
        </pc:cxnChg>
        <pc:cxnChg chg="del mod">
          <ac:chgData name="Matamoros, Eric" userId="7a10a9b0-7cd3-411b-b323-28f940d6dafa" providerId="ADAL" clId="{1EC2BAF6-7041-40FB-A31C-9F3EA475A9C3}" dt="2022-09-25T08:06:42.528" v="262" actId="478"/>
          <ac:cxnSpMkLst>
            <pc:docMk/>
            <pc:sldMk cId="3082434668" sldId="588"/>
            <ac:cxnSpMk id="45" creationId="{AAC1758D-8F59-4385-9B51-491D40AA2DBD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49" creationId="{5B877120-2C81-44A9-891D-B156F1D8233B}"/>
          </ac:cxnSpMkLst>
        </pc:cxnChg>
        <pc:cxnChg chg="mod">
          <ac:chgData name="Matamoros, Eric" userId="7a10a9b0-7cd3-411b-b323-28f940d6dafa" providerId="ADAL" clId="{1EC2BAF6-7041-40FB-A31C-9F3EA475A9C3}" dt="2022-09-25T08:10:38.606" v="264" actId="1076"/>
          <ac:cxnSpMkLst>
            <pc:docMk/>
            <pc:sldMk cId="3082434668" sldId="588"/>
            <ac:cxnSpMk id="51" creationId="{1A921E7E-4C0E-4BA4-8472-20C9DE4A20F2}"/>
          </ac:cxnSpMkLst>
        </pc:cxnChg>
      </pc:sldChg>
      <pc:sldChg chg="modSp mod">
        <pc:chgData name="Matamoros, Eric" userId="7a10a9b0-7cd3-411b-b323-28f940d6dafa" providerId="ADAL" clId="{1EC2BAF6-7041-40FB-A31C-9F3EA475A9C3}" dt="2022-09-25T08:04:10.620" v="191" actId="20577"/>
        <pc:sldMkLst>
          <pc:docMk/>
          <pc:sldMk cId="647202188" sldId="594"/>
        </pc:sldMkLst>
        <pc:spChg chg="mod">
          <ac:chgData name="Matamoros, Eric" userId="7a10a9b0-7cd3-411b-b323-28f940d6dafa" providerId="ADAL" clId="{1EC2BAF6-7041-40FB-A31C-9F3EA475A9C3}" dt="2022-09-25T08:04:10.620" v="191" actId="20577"/>
          <ac:spMkLst>
            <pc:docMk/>
            <pc:sldMk cId="647202188" sldId="594"/>
            <ac:spMk id="8" creationId="{00000000-0000-0000-0000-000000000000}"/>
          </ac:spMkLst>
        </pc:spChg>
      </pc:sldChg>
      <pc:sldChg chg="addSp modSp mod">
        <pc:chgData name="Matamoros, Eric" userId="7a10a9b0-7cd3-411b-b323-28f940d6dafa" providerId="ADAL" clId="{1EC2BAF6-7041-40FB-A31C-9F3EA475A9C3}" dt="2022-09-25T08:46:16.856" v="1383" actId="1076"/>
        <pc:sldMkLst>
          <pc:docMk/>
          <pc:sldMk cId="3708891037" sldId="608"/>
        </pc:sldMkLst>
        <pc:spChg chg="mod">
          <ac:chgData name="Matamoros, Eric" userId="7a10a9b0-7cd3-411b-b323-28f940d6dafa" providerId="ADAL" clId="{1EC2BAF6-7041-40FB-A31C-9F3EA475A9C3}" dt="2022-09-25T08:46:16.856" v="1383" actId="1076"/>
          <ac:spMkLst>
            <pc:docMk/>
            <pc:sldMk cId="3708891037" sldId="608"/>
            <ac:spMk id="5" creationId="{ACC31047-6247-440D-AB3C-496A9F4001AB}"/>
          </ac:spMkLst>
        </pc:spChg>
        <pc:spChg chg="mod">
          <ac:chgData name="Matamoros, Eric" userId="7a10a9b0-7cd3-411b-b323-28f940d6dafa" providerId="ADAL" clId="{1EC2BAF6-7041-40FB-A31C-9F3EA475A9C3}" dt="2022-09-25T08:46:16.856" v="1383" actId="1076"/>
          <ac:spMkLst>
            <pc:docMk/>
            <pc:sldMk cId="3708891037" sldId="608"/>
            <ac:spMk id="6" creationId="{36D62C73-9A0D-4E45-A9BD-CD71BD9F3684}"/>
          </ac:spMkLst>
        </pc:spChg>
        <pc:spChg chg="add mod">
          <ac:chgData name="Matamoros, Eric" userId="7a10a9b0-7cd3-411b-b323-28f940d6dafa" providerId="ADAL" clId="{1EC2BAF6-7041-40FB-A31C-9F3EA475A9C3}" dt="2022-09-25T08:45:49.926" v="1334" actId="20577"/>
          <ac:spMkLst>
            <pc:docMk/>
            <pc:sldMk cId="3708891037" sldId="608"/>
            <ac:spMk id="9" creationId="{ED20363F-3FF1-42B1-B5CB-A1233343EEEC}"/>
          </ac:spMkLst>
        </pc:spChg>
        <pc:spChg chg="add mod">
          <ac:chgData name="Matamoros, Eric" userId="7a10a9b0-7cd3-411b-b323-28f940d6dafa" providerId="ADAL" clId="{1EC2BAF6-7041-40FB-A31C-9F3EA475A9C3}" dt="2022-09-25T08:46:05.237" v="1365" actId="1076"/>
          <ac:spMkLst>
            <pc:docMk/>
            <pc:sldMk cId="3708891037" sldId="608"/>
            <ac:spMk id="10" creationId="{1B40DC2C-6F55-46C9-8393-AB0D68249C16}"/>
          </ac:spMkLst>
        </pc:spChg>
        <pc:spChg chg="mod">
          <ac:chgData name="Matamoros, Eric" userId="7a10a9b0-7cd3-411b-b323-28f940d6dafa" providerId="ADAL" clId="{1EC2BAF6-7041-40FB-A31C-9F3EA475A9C3}" dt="2022-09-25T08:46:16.856" v="1383" actId="1076"/>
          <ac:spMkLst>
            <pc:docMk/>
            <pc:sldMk cId="3708891037" sldId="608"/>
            <ac:spMk id="23" creationId="{24FD3BD4-564B-412F-9276-DDD39B1B397D}"/>
          </ac:spMkLst>
        </pc:spChg>
        <pc:spChg chg="mod">
          <ac:chgData name="Matamoros, Eric" userId="7a10a9b0-7cd3-411b-b323-28f940d6dafa" providerId="ADAL" clId="{1EC2BAF6-7041-40FB-A31C-9F3EA475A9C3}" dt="2022-09-25T08:46:16.856" v="1383" actId="1076"/>
          <ac:spMkLst>
            <pc:docMk/>
            <pc:sldMk cId="3708891037" sldId="608"/>
            <ac:spMk id="24" creationId="{2F49C1BD-C4F4-49F1-9CF4-C166D1936E89}"/>
          </ac:spMkLst>
        </pc:spChg>
      </pc:sldChg>
      <pc:sldChg chg="modSp mod ord">
        <pc:chgData name="Matamoros, Eric" userId="7a10a9b0-7cd3-411b-b323-28f940d6dafa" providerId="ADAL" clId="{1EC2BAF6-7041-40FB-A31C-9F3EA475A9C3}" dt="2022-09-25T08:33:16.285" v="630" actId="20577"/>
        <pc:sldMkLst>
          <pc:docMk/>
          <pc:sldMk cId="3398179894" sldId="613"/>
        </pc:sldMkLst>
        <pc:spChg chg="mod">
          <ac:chgData name="Matamoros, Eric" userId="7a10a9b0-7cd3-411b-b323-28f940d6dafa" providerId="ADAL" clId="{1EC2BAF6-7041-40FB-A31C-9F3EA475A9C3}" dt="2022-09-25T08:33:16.285" v="630" actId="20577"/>
          <ac:spMkLst>
            <pc:docMk/>
            <pc:sldMk cId="3398179894" sldId="613"/>
            <ac:spMk id="8" creationId="{00000000-0000-0000-0000-000000000000}"/>
          </ac:spMkLst>
        </pc:spChg>
      </pc:sldChg>
      <pc:sldChg chg="addSp modSp mod">
        <pc:chgData name="Matamoros, Eric" userId="7a10a9b0-7cd3-411b-b323-28f940d6dafa" providerId="ADAL" clId="{1EC2BAF6-7041-40FB-A31C-9F3EA475A9C3}" dt="2022-09-25T08:21:20.011" v="399" actId="1076"/>
        <pc:sldMkLst>
          <pc:docMk/>
          <pc:sldMk cId="48334468" sldId="614"/>
        </pc:sldMkLst>
        <pc:spChg chg="mod">
          <ac:chgData name="Matamoros, Eric" userId="7a10a9b0-7cd3-411b-b323-28f940d6dafa" providerId="ADAL" clId="{1EC2BAF6-7041-40FB-A31C-9F3EA475A9C3}" dt="2022-09-25T08:06:17.682" v="256" actId="20577"/>
          <ac:spMkLst>
            <pc:docMk/>
            <pc:sldMk cId="48334468" sldId="614"/>
            <ac:spMk id="4" creationId="{00000000-0000-0000-0000-000000000000}"/>
          </ac:spMkLst>
        </pc:spChg>
        <pc:spChg chg="add mod">
          <ac:chgData name="Matamoros, Eric" userId="7a10a9b0-7cd3-411b-b323-28f940d6dafa" providerId="ADAL" clId="{1EC2BAF6-7041-40FB-A31C-9F3EA475A9C3}" dt="2022-09-25T08:21:20.011" v="399" actId="1076"/>
          <ac:spMkLst>
            <pc:docMk/>
            <pc:sldMk cId="48334468" sldId="614"/>
            <ac:spMk id="10" creationId="{1F3F0B34-83D8-40E1-ACFD-A2E2FA8B1041}"/>
          </ac:spMkLst>
        </pc:spChg>
        <pc:spChg chg="mod">
          <ac:chgData name="Matamoros, Eric" userId="7a10a9b0-7cd3-411b-b323-28f940d6dafa" providerId="ADAL" clId="{1EC2BAF6-7041-40FB-A31C-9F3EA475A9C3}" dt="2022-09-25T08:05:24.306" v="233" actId="164"/>
          <ac:spMkLst>
            <pc:docMk/>
            <pc:sldMk cId="48334468" sldId="614"/>
            <ac:spMk id="22" creationId="{243F052E-D407-4D58-817E-A53289195911}"/>
          </ac:spMkLst>
        </pc:spChg>
        <pc:spChg chg="mod">
          <ac:chgData name="Matamoros, Eric" userId="7a10a9b0-7cd3-411b-b323-28f940d6dafa" providerId="ADAL" clId="{1EC2BAF6-7041-40FB-A31C-9F3EA475A9C3}" dt="2022-09-25T08:05:24.306" v="233" actId="164"/>
          <ac:spMkLst>
            <pc:docMk/>
            <pc:sldMk cId="48334468" sldId="614"/>
            <ac:spMk id="23" creationId="{2AE6364C-A2EE-4DB1-97DD-2823F487B8D0}"/>
          </ac:spMkLst>
        </pc:spChg>
        <pc:spChg chg="mod">
          <ac:chgData name="Matamoros, Eric" userId="7a10a9b0-7cd3-411b-b323-28f940d6dafa" providerId="ADAL" clId="{1EC2BAF6-7041-40FB-A31C-9F3EA475A9C3}" dt="2022-09-25T08:04:51.166" v="229" actId="1076"/>
          <ac:spMkLst>
            <pc:docMk/>
            <pc:sldMk cId="48334468" sldId="614"/>
            <ac:spMk id="28" creationId="{00000000-0000-0000-0000-000000000000}"/>
          </ac:spMkLst>
        </pc:spChg>
        <pc:spChg chg="mod">
          <ac:chgData name="Matamoros, Eric" userId="7a10a9b0-7cd3-411b-b323-28f940d6dafa" providerId="ADAL" clId="{1EC2BAF6-7041-40FB-A31C-9F3EA475A9C3}" dt="2022-09-25T08:05:24.306" v="233" actId="164"/>
          <ac:spMkLst>
            <pc:docMk/>
            <pc:sldMk cId="48334468" sldId="614"/>
            <ac:spMk id="29" creationId="{D36F2127-DC86-443E-B138-067EA6E9EBEF}"/>
          </ac:spMkLst>
        </pc:spChg>
        <pc:spChg chg="mod">
          <ac:chgData name="Matamoros, Eric" userId="7a10a9b0-7cd3-411b-b323-28f940d6dafa" providerId="ADAL" clId="{1EC2BAF6-7041-40FB-A31C-9F3EA475A9C3}" dt="2022-09-25T08:05:24.306" v="233" actId="164"/>
          <ac:spMkLst>
            <pc:docMk/>
            <pc:sldMk cId="48334468" sldId="614"/>
            <ac:spMk id="36" creationId="{2E168360-66F7-4CA2-98EC-56B959FE8722}"/>
          </ac:spMkLst>
        </pc:spChg>
        <pc:spChg chg="mod">
          <ac:chgData name="Matamoros, Eric" userId="7a10a9b0-7cd3-411b-b323-28f940d6dafa" providerId="ADAL" clId="{1EC2BAF6-7041-40FB-A31C-9F3EA475A9C3}" dt="2022-09-25T08:05:45.033" v="247" actId="14100"/>
          <ac:spMkLst>
            <pc:docMk/>
            <pc:sldMk cId="48334468" sldId="614"/>
            <ac:spMk id="37" creationId="{2171FEBD-E612-4AFA-8716-40469AE827C3}"/>
          </ac:spMkLst>
        </pc:spChg>
        <pc:spChg chg="mod">
          <ac:chgData name="Matamoros, Eric" userId="7a10a9b0-7cd3-411b-b323-28f940d6dafa" providerId="ADAL" clId="{1EC2BAF6-7041-40FB-A31C-9F3EA475A9C3}" dt="2022-09-25T08:05:58.118" v="251" actId="1076"/>
          <ac:spMkLst>
            <pc:docMk/>
            <pc:sldMk cId="48334468" sldId="614"/>
            <ac:spMk id="38" creationId="{0BDDAB8C-B525-4EC3-9923-9620E7CD0C8D}"/>
          </ac:spMkLst>
        </pc:spChg>
        <pc:spChg chg="mod">
          <ac:chgData name="Matamoros, Eric" userId="7a10a9b0-7cd3-411b-b323-28f940d6dafa" providerId="ADAL" clId="{1EC2BAF6-7041-40FB-A31C-9F3EA475A9C3}" dt="2022-09-25T08:06:03.593" v="252" actId="20577"/>
          <ac:spMkLst>
            <pc:docMk/>
            <pc:sldMk cId="48334468" sldId="614"/>
            <ac:spMk id="39" creationId="{2DC6146F-C408-4D0C-BD78-3CE1ADAF066D}"/>
          </ac:spMkLst>
        </pc:spChg>
        <pc:spChg chg="mod">
          <ac:chgData name="Matamoros, Eric" userId="7a10a9b0-7cd3-411b-b323-28f940d6dafa" providerId="ADAL" clId="{1EC2BAF6-7041-40FB-A31C-9F3EA475A9C3}" dt="2022-09-25T08:05:37.871" v="241" actId="404"/>
          <ac:spMkLst>
            <pc:docMk/>
            <pc:sldMk cId="48334468" sldId="614"/>
            <ac:spMk id="42" creationId="{687F7F75-2016-493F-AB52-764D6501A0B3}"/>
          </ac:spMkLst>
        </pc:spChg>
        <pc:spChg chg="mod">
          <ac:chgData name="Matamoros, Eric" userId="7a10a9b0-7cd3-411b-b323-28f940d6dafa" providerId="ADAL" clId="{1EC2BAF6-7041-40FB-A31C-9F3EA475A9C3}" dt="2022-09-25T08:05:40.905" v="245" actId="404"/>
          <ac:spMkLst>
            <pc:docMk/>
            <pc:sldMk cId="48334468" sldId="614"/>
            <ac:spMk id="43" creationId="{8ABB4232-D191-4EB6-90F0-986DBECFF100}"/>
          </ac:spMkLst>
        </pc:spChg>
        <pc:spChg chg="mod">
          <ac:chgData name="Matamoros, Eric" userId="7a10a9b0-7cd3-411b-b323-28f940d6dafa" providerId="ADAL" clId="{1EC2BAF6-7041-40FB-A31C-9F3EA475A9C3}" dt="2022-09-25T08:06:08.350" v="253" actId="14100"/>
          <ac:spMkLst>
            <pc:docMk/>
            <pc:sldMk cId="48334468" sldId="614"/>
            <ac:spMk id="51" creationId="{DC9F65B4-93DB-4EB7-A5FA-B9BB521E1814}"/>
          </ac:spMkLst>
        </pc:spChg>
        <pc:grpChg chg="add mod">
          <ac:chgData name="Matamoros, Eric" userId="7a10a9b0-7cd3-411b-b323-28f940d6dafa" providerId="ADAL" clId="{1EC2BAF6-7041-40FB-A31C-9F3EA475A9C3}" dt="2022-09-25T08:16:02.091" v="378" actId="1076"/>
          <ac:grpSpMkLst>
            <pc:docMk/>
            <pc:sldMk cId="48334468" sldId="614"/>
            <ac:grpSpMk id="9" creationId="{E2E5A82F-C404-4838-8962-851CDCD52A08}"/>
          </ac:grpSpMkLst>
        </pc:grpChg>
        <pc:picChg chg="mod">
          <ac:chgData name="Matamoros, Eric" userId="7a10a9b0-7cd3-411b-b323-28f940d6dafa" providerId="ADAL" clId="{1EC2BAF6-7041-40FB-A31C-9F3EA475A9C3}" dt="2022-09-25T08:05:24.306" v="233" actId="164"/>
          <ac:picMkLst>
            <pc:docMk/>
            <pc:sldMk cId="48334468" sldId="614"/>
            <ac:picMk id="15" creationId="{A23CC381-7D27-4025-B6B7-12D0581C0C7A}"/>
          </ac:picMkLst>
        </pc:picChg>
        <pc:picChg chg="mod">
          <ac:chgData name="Matamoros, Eric" userId="7a10a9b0-7cd3-411b-b323-28f940d6dafa" providerId="ADAL" clId="{1EC2BAF6-7041-40FB-A31C-9F3EA475A9C3}" dt="2022-09-25T08:05:24.306" v="233" actId="164"/>
          <ac:picMkLst>
            <pc:docMk/>
            <pc:sldMk cId="48334468" sldId="614"/>
            <ac:picMk id="35" creationId="{FA9437A2-82A7-43B6-91D9-E4C97D4BADD2}"/>
          </ac:picMkLst>
        </pc:picChg>
        <pc:cxnChg chg="mod">
          <ac:chgData name="Matamoros, Eric" userId="7a10a9b0-7cd3-411b-b323-28f940d6dafa" providerId="ADAL" clId="{1EC2BAF6-7041-40FB-A31C-9F3EA475A9C3}" dt="2022-09-25T08:05:24.306" v="233" actId="164"/>
          <ac:cxnSpMkLst>
            <pc:docMk/>
            <pc:sldMk cId="48334468" sldId="614"/>
            <ac:cxnSpMk id="41" creationId="{2939C650-C487-4AC5-B234-1915A576D234}"/>
          </ac:cxnSpMkLst>
        </pc:cxnChg>
        <pc:cxnChg chg="mod">
          <ac:chgData name="Matamoros, Eric" userId="7a10a9b0-7cd3-411b-b323-28f940d6dafa" providerId="ADAL" clId="{1EC2BAF6-7041-40FB-A31C-9F3EA475A9C3}" dt="2022-09-25T08:05:24.306" v="233" actId="164"/>
          <ac:cxnSpMkLst>
            <pc:docMk/>
            <pc:sldMk cId="48334468" sldId="614"/>
            <ac:cxnSpMk id="44" creationId="{DFFAA53E-132E-433A-A002-03914465DEA2}"/>
          </ac:cxnSpMkLst>
        </pc:cxnChg>
        <pc:cxnChg chg="mod">
          <ac:chgData name="Matamoros, Eric" userId="7a10a9b0-7cd3-411b-b323-28f940d6dafa" providerId="ADAL" clId="{1EC2BAF6-7041-40FB-A31C-9F3EA475A9C3}" dt="2022-09-25T08:05:24.306" v="233" actId="164"/>
          <ac:cxnSpMkLst>
            <pc:docMk/>
            <pc:sldMk cId="48334468" sldId="614"/>
            <ac:cxnSpMk id="49" creationId="{625C7F2A-9C68-4FC8-8B71-EDDE31C1F40A}"/>
          </ac:cxnSpMkLst>
        </pc:cxnChg>
      </pc:sldChg>
      <pc:sldChg chg="addSp delSp modSp mod">
        <pc:chgData name="Matamoros, Eric" userId="7a10a9b0-7cd3-411b-b323-28f940d6dafa" providerId="ADAL" clId="{1EC2BAF6-7041-40FB-A31C-9F3EA475A9C3}" dt="2022-09-25T09:44:57.352" v="3347" actId="1076"/>
        <pc:sldMkLst>
          <pc:docMk/>
          <pc:sldMk cId="40785378" sldId="615"/>
        </pc:sldMkLst>
        <pc:spChg chg="del mod">
          <ac:chgData name="Matamoros, Eric" userId="7a10a9b0-7cd3-411b-b323-28f940d6dafa" providerId="ADAL" clId="{1EC2BAF6-7041-40FB-A31C-9F3EA475A9C3}" dt="2022-09-25T09:26:03.522" v="3147" actId="21"/>
          <ac:spMkLst>
            <pc:docMk/>
            <pc:sldMk cId="40785378" sldId="615"/>
            <ac:spMk id="5" creationId="{32AF3E77-F2EE-4E38-A009-AA17756D669A}"/>
          </ac:spMkLst>
        </pc:spChg>
        <pc:spChg chg="del">
          <ac:chgData name="Matamoros, Eric" userId="7a10a9b0-7cd3-411b-b323-28f940d6dafa" providerId="ADAL" clId="{1EC2BAF6-7041-40FB-A31C-9F3EA475A9C3}" dt="2022-09-25T08:32:53.582" v="615" actId="478"/>
          <ac:spMkLst>
            <pc:docMk/>
            <pc:sldMk cId="40785378" sldId="615"/>
            <ac:spMk id="6" creationId="{48137823-6390-4F5B-AA30-3CD4922D3AD7}"/>
          </ac:spMkLst>
        </pc:spChg>
        <pc:spChg chg="del">
          <ac:chgData name="Matamoros, Eric" userId="7a10a9b0-7cd3-411b-b323-28f940d6dafa" providerId="ADAL" clId="{1EC2BAF6-7041-40FB-A31C-9F3EA475A9C3}" dt="2022-09-25T08:32:48.406" v="613" actId="478"/>
          <ac:spMkLst>
            <pc:docMk/>
            <pc:sldMk cId="40785378" sldId="615"/>
            <ac:spMk id="7" creationId="{1C5D8339-E5B6-4A9E-B530-391B2B552D04}"/>
          </ac:spMkLst>
        </pc:spChg>
        <pc:spChg chg="add mod">
          <ac:chgData name="Matamoros, Eric" userId="7a10a9b0-7cd3-411b-b323-28f940d6dafa" providerId="ADAL" clId="{1EC2BAF6-7041-40FB-A31C-9F3EA475A9C3}" dt="2022-09-25T08:35:24.807" v="698" actId="404"/>
          <ac:spMkLst>
            <pc:docMk/>
            <pc:sldMk cId="40785378" sldId="615"/>
            <ac:spMk id="8" creationId="{52CEEDCF-7618-4772-AE66-B27CB226090C}"/>
          </ac:spMkLst>
        </pc:spChg>
        <pc:spChg chg="add mod">
          <ac:chgData name="Matamoros, Eric" userId="7a10a9b0-7cd3-411b-b323-28f940d6dafa" providerId="ADAL" clId="{1EC2BAF6-7041-40FB-A31C-9F3EA475A9C3}" dt="2022-09-25T08:36:05.347" v="729" actId="693"/>
          <ac:spMkLst>
            <pc:docMk/>
            <pc:sldMk cId="40785378" sldId="615"/>
            <ac:spMk id="10" creationId="{94EFF3BD-5CED-4F14-98A1-2EAFC15EB799}"/>
          </ac:spMkLst>
        </pc:spChg>
        <pc:spChg chg="del">
          <ac:chgData name="Matamoros, Eric" userId="7a10a9b0-7cd3-411b-b323-28f940d6dafa" providerId="ADAL" clId="{1EC2BAF6-7041-40FB-A31C-9F3EA475A9C3}" dt="2022-09-25T08:32:52.292" v="614" actId="478"/>
          <ac:spMkLst>
            <pc:docMk/>
            <pc:sldMk cId="40785378" sldId="615"/>
            <ac:spMk id="11" creationId="{BEA0E233-8FFF-46CD-A8DB-086B1320C16A}"/>
          </ac:spMkLst>
        </pc:spChg>
        <pc:spChg chg="add del mod modVis">
          <ac:chgData name="Matamoros, Eric" userId="7a10a9b0-7cd3-411b-b323-28f940d6dafa" providerId="ADAL" clId="{1EC2BAF6-7041-40FB-A31C-9F3EA475A9C3}" dt="2022-09-25T09:25:59.309" v="3143"/>
          <ac:spMkLst>
            <pc:docMk/>
            <pc:sldMk cId="40785378" sldId="615"/>
            <ac:spMk id="12" creationId="{47236B6C-B101-45EA-8798-6EC6ABDC0E99}"/>
          </ac:spMkLst>
        </pc:spChg>
        <pc:spChg chg="del">
          <ac:chgData name="Matamoros, Eric" userId="7a10a9b0-7cd3-411b-b323-28f940d6dafa" providerId="ADAL" clId="{1EC2BAF6-7041-40FB-A31C-9F3EA475A9C3}" dt="2022-09-25T08:32:48.406" v="613" actId="478"/>
          <ac:spMkLst>
            <pc:docMk/>
            <pc:sldMk cId="40785378" sldId="615"/>
            <ac:spMk id="13" creationId="{B41EC09D-2857-4FEB-B61E-2C324ABA59E1}"/>
          </ac:spMkLst>
        </pc:spChg>
        <pc:spChg chg="add mod">
          <ac:chgData name="Matamoros, Eric" userId="7a10a9b0-7cd3-411b-b323-28f940d6dafa" providerId="ADAL" clId="{1EC2BAF6-7041-40FB-A31C-9F3EA475A9C3}" dt="2022-09-25T09:26:08.290" v="3173" actId="948"/>
          <ac:spMkLst>
            <pc:docMk/>
            <pc:sldMk cId="40785378" sldId="615"/>
            <ac:spMk id="15" creationId="{5602B11B-AB7A-4CE6-B00D-81C9360A9B7F}"/>
          </ac:spMkLst>
        </pc:spChg>
        <pc:spChg chg="add mod">
          <ac:chgData name="Matamoros, Eric" userId="7a10a9b0-7cd3-411b-b323-28f940d6dafa" providerId="ADAL" clId="{1EC2BAF6-7041-40FB-A31C-9F3EA475A9C3}" dt="2022-09-25T08:35:22.896" v="696" actId="1076"/>
          <ac:spMkLst>
            <pc:docMk/>
            <pc:sldMk cId="40785378" sldId="615"/>
            <ac:spMk id="16" creationId="{F14B0E73-F66B-41B5-9F42-8D5C514CF66F}"/>
          </ac:spMkLst>
        </pc:spChg>
        <pc:spChg chg="del">
          <ac:chgData name="Matamoros, Eric" userId="7a10a9b0-7cd3-411b-b323-28f940d6dafa" providerId="ADAL" clId="{1EC2BAF6-7041-40FB-A31C-9F3EA475A9C3}" dt="2022-09-25T08:32:48.406" v="613" actId="478"/>
          <ac:spMkLst>
            <pc:docMk/>
            <pc:sldMk cId="40785378" sldId="615"/>
            <ac:spMk id="17" creationId="{B8F9FE03-03DC-4A24-A548-DE2DC1E4EA0A}"/>
          </ac:spMkLst>
        </pc:spChg>
        <pc:spChg chg="mod">
          <ac:chgData name="Matamoros, Eric" userId="7a10a9b0-7cd3-411b-b323-28f940d6dafa" providerId="ADAL" clId="{1EC2BAF6-7041-40FB-A31C-9F3EA475A9C3}" dt="2022-09-25T09:44:57.352" v="3347" actId="1076"/>
          <ac:spMkLst>
            <pc:docMk/>
            <pc:sldMk cId="40785378" sldId="615"/>
            <ac:spMk id="18" creationId="{953E6F29-92B5-41FD-940E-07ADFF801D84}"/>
          </ac:spMkLst>
        </pc:spChg>
        <pc:spChg chg="mod">
          <ac:chgData name="Matamoros, Eric" userId="7a10a9b0-7cd3-411b-b323-28f940d6dafa" providerId="ADAL" clId="{1EC2BAF6-7041-40FB-A31C-9F3EA475A9C3}" dt="2022-09-25T09:44:57.352" v="3347" actId="1076"/>
          <ac:spMkLst>
            <pc:docMk/>
            <pc:sldMk cId="40785378" sldId="615"/>
            <ac:spMk id="19" creationId="{AB25B62B-91DB-49FD-9EB0-925AEB9ED99C}"/>
          </ac:spMkLst>
        </pc:spChg>
        <pc:spChg chg="add mod">
          <ac:chgData name="Matamoros, Eric" userId="7a10a9b0-7cd3-411b-b323-28f940d6dafa" providerId="ADAL" clId="{1EC2BAF6-7041-40FB-A31C-9F3EA475A9C3}" dt="2022-09-25T08:35:34.679" v="716" actId="20577"/>
          <ac:spMkLst>
            <pc:docMk/>
            <pc:sldMk cId="40785378" sldId="615"/>
            <ac:spMk id="20" creationId="{BE27AF27-4787-4579-96D9-D1C53C829936}"/>
          </ac:spMkLst>
        </pc:spChg>
        <pc:spChg chg="add del mod modVis">
          <ac:chgData name="Matamoros, Eric" userId="7a10a9b0-7cd3-411b-b323-28f940d6dafa" providerId="ADAL" clId="{1EC2BAF6-7041-40FB-A31C-9F3EA475A9C3}" dt="2022-09-25T09:26:08.352" v="3208"/>
          <ac:spMkLst>
            <pc:docMk/>
            <pc:sldMk cId="40785378" sldId="615"/>
            <ac:spMk id="21" creationId="{34F02BAB-5B5A-4638-ABE9-EB5DD5782310}"/>
          </ac:spMkLst>
        </pc:spChg>
        <pc:graphicFrameChg chg="add mod ord modVis">
          <ac:chgData name="Matamoros, Eric" userId="7a10a9b0-7cd3-411b-b323-28f940d6dafa" providerId="ADAL" clId="{1EC2BAF6-7041-40FB-A31C-9F3EA475A9C3}" dt="2022-09-25T09:26:08.358" v="3210"/>
          <ac:graphicFrameMkLst>
            <pc:docMk/>
            <pc:sldMk cId="40785378" sldId="615"/>
            <ac:graphicFrameMk id="2" creationId="{2B314F2A-B0F3-48AD-9A1E-79090C21F9F4}"/>
          </ac:graphicFrameMkLst>
        </pc:graphicFrameChg>
        <pc:picChg chg="add mod modCrop">
          <ac:chgData name="Matamoros, Eric" userId="7a10a9b0-7cd3-411b-b323-28f940d6dafa" providerId="ADAL" clId="{1EC2BAF6-7041-40FB-A31C-9F3EA475A9C3}" dt="2022-09-25T09:25:51.479" v="3095" actId="1076"/>
          <ac:picMkLst>
            <pc:docMk/>
            <pc:sldMk cId="40785378" sldId="615"/>
            <ac:picMk id="4" creationId="{89065D2B-327E-4596-AD20-256118A8A51B}"/>
          </ac:picMkLst>
        </pc:picChg>
        <pc:cxnChg chg="del">
          <ac:chgData name="Matamoros, Eric" userId="7a10a9b0-7cd3-411b-b323-28f940d6dafa" providerId="ADAL" clId="{1EC2BAF6-7041-40FB-A31C-9F3EA475A9C3}" dt="2022-09-25T08:32:48.406" v="613" actId="478"/>
          <ac:cxnSpMkLst>
            <pc:docMk/>
            <pc:sldMk cId="40785378" sldId="615"/>
            <ac:cxnSpMk id="9" creationId="{E882BDE5-DF73-4169-B370-643BC7663146}"/>
          </ac:cxnSpMkLst>
        </pc:cxnChg>
        <pc:cxnChg chg="del">
          <ac:chgData name="Matamoros, Eric" userId="7a10a9b0-7cd3-411b-b323-28f940d6dafa" providerId="ADAL" clId="{1EC2BAF6-7041-40FB-A31C-9F3EA475A9C3}" dt="2022-09-25T08:32:54.247" v="616" actId="478"/>
          <ac:cxnSpMkLst>
            <pc:docMk/>
            <pc:sldMk cId="40785378" sldId="615"/>
            <ac:cxnSpMk id="22" creationId="{FB74D727-2944-41D7-BF68-002B0B4A137B}"/>
          </ac:cxnSpMkLst>
        </pc:cxnChg>
      </pc:sldChg>
      <pc:sldChg chg="add del ord">
        <pc:chgData name="Matamoros, Eric" userId="7a10a9b0-7cd3-411b-b323-28f940d6dafa" providerId="ADAL" clId="{1EC2BAF6-7041-40FB-A31C-9F3EA475A9C3}" dt="2022-09-26T13:43:21.573" v="3899" actId="47"/>
        <pc:sldMkLst>
          <pc:docMk/>
          <pc:sldMk cId="2088973368" sldId="616"/>
        </pc:sldMkLst>
      </pc:sldChg>
      <pc:sldChg chg="addSp delSp modSp add mod">
        <pc:chgData name="Matamoros, Eric" userId="7a10a9b0-7cd3-411b-b323-28f940d6dafa" providerId="ADAL" clId="{1EC2BAF6-7041-40FB-A31C-9F3EA475A9C3}" dt="2022-09-25T08:32:20.533" v="599"/>
        <pc:sldMkLst>
          <pc:docMk/>
          <pc:sldMk cId="1226275291" sldId="617"/>
        </pc:sldMkLst>
        <pc:spChg chg="mod ord">
          <ac:chgData name="Matamoros, Eric" userId="7a10a9b0-7cd3-411b-b323-28f940d6dafa" providerId="ADAL" clId="{1EC2BAF6-7041-40FB-A31C-9F3EA475A9C3}" dt="2022-09-25T08:32:20.522" v="573"/>
          <ac:spMkLst>
            <pc:docMk/>
            <pc:sldMk cId="1226275291" sldId="617"/>
            <ac:spMk id="2" creationId="{00000000-0000-0000-0000-000000000000}"/>
          </ac:spMkLst>
        </pc:spChg>
        <pc:spChg chg="mod ord">
          <ac:chgData name="Matamoros, Eric" userId="7a10a9b0-7cd3-411b-b323-28f940d6dafa" providerId="ADAL" clId="{1EC2BAF6-7041-40FB-A31C-9F3EA475A9C3}" dt="2022-09-25T08:32:20.522" v="571"/>
          <ac:spMkLst>
            <pc:docMk/>
            <pc:sldMk cId="1226275291" sldId="617"/>
            <ac:spMk id="3" creationId="{00000000-0000-0000-0000-000000000000}"/>
          </ac:spMkLst>
        </pc:spChg>
        <pc:spChg chg="mod ord">
          <ac:chgData name="Matamoros, Eric" userId="7a10a9b0-7cd3-411b-b323-28f940d6dafa" providerId="ADAL" clId="{1EC2BAF6-7041-40FB-A31C-9F3EA475A9C3}" dt="2022-09-25T08:32:20.523" v="575"/>
          <ac:spMkLst>
            <pc:docMk/>
            <pc:sldMk cId="1226275291" sldId="617"/>
            <ac:spMk id="4" creationId="{00000000-0000-0000-0000-000000000000}"/>
          </ac:spMkLst>
        </pc:spChg>
        <pc:spChg chg="add del mod">
          <ac:chgData name="Matamoros, Eric" userId="7a10a9b0-7cd3-411b-b323-28f940d6dafa" providerId="ADAL" clId="{1EC2BAF6-7041-40FB-A31C-9F3EA475A9C3}" dt="2022-09-25T08:26:41.959" v="408" actId="478"/>
          <ac:spMkLst>
            <pc:docMk/>
            <pc:sldMk cId="1226275291" sldId="617"/>
            <ac:spMk id="8" creationId="{3739644A-9284-463C-852A-E76DD096F5A2}"/>
          </ac:spMkLst>
        </pc:spChg>
        <pc:spChg chg="add del mod">
          <ac:chgData name="Matamoros, Eric" userId="7a10a9b0-7cd3-411b-b323-28f940d6dafa" providerId="ADAL" clId="{1EC2BAF6-7041-40FB-A31C-9F3EA475A9C3}" dt="2022-09-25T08:27:38.971" v="413" actId="478"/>
          <ac:spMkLst>
            <pc:docMk/>
            <pc:sldMk cId="1226275291" sldId="617"/>
            <ac:spMk id="10" creationId="{23ABD0CA-163D-45D4-AD43-BB1D9DFA5465}"/>
          </ac:spMkLst>
        </pc:spChg>
        <pc:spChg chg="add del mod">
          <ac:chgData name="Matamoros, Eric" userId="7a10a9b0-7cd3-411b-b323-28f940d6dafa" providerId="ADAL" clId="{1EC2BAF6-7041-40FB-A31C-9F3EA475A9C3}" dt="2022-09-25T08:30:20.004" v="458" actId="478"/>
          <ac:spMkLst>
            <pc:docMk/>
            <pc:sldMk cId="1226275291" sldId="617"/>
            <ac:spMk id="16" creationId="{F633980E-2269-413D-8D2E-8F2F35385433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26" creationId="{62C40933-2851-4252-ACDB-FC0F17E72190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27" creationId="{F9F647E4-EA07-455E-B32E-EEC43AE8CE4F}"/>
          </ac:spMkLst>
        </pc:spChg>
        <pc:spChg chg="del">
          <ac:chgData name="Matamoros, Eric" userId="7a10a9b0-7cd3-411b-b323-28f940d6dafa" providerId="ADAL" clId="{1EC2BAF6-7041-40FB-A31C-9F3EA475A9C3}" dt="2022-09-25T08:30:35.597" v="462" actId="478"/>
          <ac:spMkLst>
            <pc:docMk/>
            <pc:sldMk cId="1226275291" sldId="617"/>
            <ac:spMk id="28" creationId="{00000000-0000-0000-0000-000000000000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30" creationId="{8F2DA943-8201-4157-98A2-18F0E13A103B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32" creationId="{2651F046-20BD-4917-91B9-CA25E291E018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33" creationId="{8CC9CD6D-151A-4449-A843-60369B508EF2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34" creationId="{6E45D605-AD99-45DF-AC74-4C38FB32F4CA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40" creationId="{6042029D-0ABD-4D8B-8964-90A59A513DD3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46" creationId="{AFDE8821-2311-45C4-91E6-D9613003C9F3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47" creationId="{DFC9F864-D380-4E92-B5F1-FAD5EC069F2C}"/>
          </ac:spMkLst>
        </pc:spChg>
        <pc:spChg chg="mod">
          <ac:chgData name="Matamoros, Eric" userId="7a10a9b0-7cd3-411b-b323-28f940d6dafa" providerId="ADAL" clId="{1EC2BAF6-7041-40FB-A31C-9F3EA475A9C3}" dt="2022-09-25T08:16:09.707" v="381"/>
          <ac:spMkLst>
            <pc:docMk/>
            <pc:sldMk cId="1226275291" sldId="617"/>
            <ac:spMk id="52" creationId="{B802D544-E20E-496A-B0D0-9659112BCB28}"/>
          </ac:spMkLst>
        </pc:spChg>
        <pc:spChg chg="add del mod">
          <ac:chgData name="Matamoros, Eric" userId="7a10a9b0-7cd3-411b-b323-28f940d6dafa" providerId="ADAL" clId="{1EC2BAF6-7041-40FB-A31C-9F3EA475A9C3}" dt="2022-09-25T08:30:18.393" v="457" actId="478"/>
          <ac:spMkLst>
            <pc:docMk/>
            <pc:sldMk cId="1226275291" sldId="617"/>
            <ac:spMk id="54" creationId="{60A2E599-3367-48FF-83F2-4C632EB01E66}"/>
          </ac:spMkLst>
        </pc:spChg>
        <pc:spChg chg="add mod ord">
          <ac:chgData name="Matamoros, Eric" userId="7a10a9b0-7cd3-411b-b323-28f940d6dafa" providerId="ADAL" clId="{1EC2BAF6-7041-40FB-A31C-9F3EA475A9C3}" dt="2022-09-25T08:32:20.524" v="581"/>
          <ac:spMkLst>
            <pc:docMk/>
            <pc:sldMk cId="1226275291" sldId="617"/>
            <ac:spMk id="55" creationId="{6EE8A98F-4FEB-443D-ABCF-DB82066F2033}"/>
          </ac:spMkLst>
        </pc:spChg>
        <pc:spChg chg="add mod ord">
          <ac:chgData name="Matamoros, Eric" userId="7a10a9b0-7cd3-411b-b323-28f940d6dafa" providerId="ADAL" clId="{1EC2BAF6-7041-40FB-A31C-9F3EA475A9C3}" dt="2022-09-25T08:32:20.525" v="583"/>
          <ac:spMkLst>
            <pc:docMk/>
            <pc:sldMk cId="1226275291" sldId="617"/>
            <ac:spMk id="57" creationId="{F0CC4866-DBED-431E-9F48-4A8B5EFBA261}"/>
          </ac:spMkLst>
        </pc:spChg>
        <pc:spChg chg="add mod ord">
          <ac:chgData name="Matamoros, Eric" userId="7a10a9b0-7cd3-411b-b323-28f940d6dafa" providerId="ADAL" clId="{1EC2BAF6-7041-40FB-A31C-9F3EA475A9C3}" dt="2022-09-25T08:32:20.528" v="595"/>
          <ac:spMkLst>
            <pc:docMk/>
            <pc:sldMk cId="1226275291" sldId="617"/>
            <ac:spMk id="62" creationId="{ECAF3DBB-0253-449A-A168-11B1F83DE79E}"/>
          </ac:spMkLst>
        </pc:spChg>
        <pc:spChg chg="add mod ord">
          <ac:chgData name="Matamoros, Eric" userId="7a10a9b0-7cd3-411b-b323-28f940d6dafa" providerId="ADAL" clId="{1EC2BAF6-7041-40FB-A31C-9F3EA475A9C3}" dt="2022-09-25T08:32:20.526" v="587"/>
          <ac:spMkLst>
            <pc:docMk/>
            <pc:sldMk cId="1226275291" sldId="617"/>
            <ac:spMk id="64" creationId="{5F2A5010-FE96-462C-88BA-4B7AEC2FBBF3}"/>
          </ac:spMkLst>
        </pc:spChg>
        <pc:spChg chg="add mod ord">
          <ac:chgData name="Matamoros, Eric" userId="7a10a9b0-7cd3-411b-b323-28f940d6dafa" providerId="ADAL" clId="{1EC2BAF6-7041-40FB-A31C-9F3EA475A9C3}" dt="2022-09-25T08:32:20.527" v="591"/>
          <ac:spMkLst>
            <pc:docMk/>
            <pc:sldMk cId="1226275291" sldId="617"/>
            <ac:spMk id="68" creationId="{9D0285B3-D989-4B27-A966-76F4DD406ECA}"/>
          </ac:spMkLst>
        </pc:spChg>
        <pc:spChg chg="add mod ord">
          <ac:chgData name="Matamoros, Eric" userId="7a10a9b0-7cd3-411b-b323-28f940d6dafa" providerId="ADAL" clId="{1EC2BAF6-7041-40FB-A31C-9F3EA475A9C3}" dt="2022-09-25T08:32:20.527" v="593"/>
          <ac:spMkLst>
            <pc:docMk/>
            <pc:sldMk cId="1226275291" sldId="617"/>
            <ac:spMk id="69" creationId="{AEC5B141-22EB-46C8-A02A-3F46A18935BA}"/>
          </ac:spMkLst>
        </pc:spChg>
        <pc:spChg chg="add del mod modVis">
          <ac:chgData name="Matamoros, Eric" userId="7a10a9b0-7cd3-411b-b323-28f940d6dafa" providerId="ADAL" clId="{1EC2BAF6-7041-40FB-A31C-9F3EA475A9C3}" dt="2022-09-25T08:32:17.684" v="566"/>
          <ac:spMkLst>
            <pc:docMk/>
            <pc:sldMk cId="1226275291" sldId="617"/>
            <ac:spMk id="70" creationId="{0D1222BD-6CA7-4B18-8B5A-9239521A5DEE}"/>
          </ac:spMkLst>
        </pc:spChg>
        <pc:grpChg chg="del">
          <ac:chgData name="Matamoros, Eric" userId="7a10a9b0-7cd3-411b-b323-28f940d6dafa" providerId="ADAL" clId="{1EC2BAF6-7041-40FB-A31C-9F3EA475A9C3}" dt="2022-09-25T08:16:05.962" v="380" actId="478"/>
          <ac:grpSpMkLst>
            <pc:docMk/>
            <pc:sldMk cId="1226275291" sldId="617"/>
            <ac:grpSpMk id="9" creationId="{E2E5A82F-C404-4838-8962-851CDCD52A08}"/>
          </ac:grpSpMkLst>
        </pc:grpChg>
        <pc:grpChg chg="add del mod">
          <ac:chgData name="Matamoros, Eric" userId="7a10a9b0-7cd3-411b-b323-28f940d6dafa" providerId="ADAL" clId="{1EC2BAF6-7041-40FB-A31C-9F3EA475A9C3}" dt="2022-09-25T08:21:08.766" v="382" actId="478"/>
          <ac:grpSpMkLst>
            <pc:docMk/>
            <pc:sldMk cId="1226275291" sldId="617"/>
            <ac:grpSpMk id="24" creationId="{2A36E624-2C56-4236-997B-40F556B05720}"/>
          </ac:grpSpMkLst>
        </pc:grpChg>
        <pc:graphicFrameChg chg="mod">
          <ac:chgData name="Matamoros, Eric" userId="7a10a9b0-7cd3-411b-b323-28f940d6dafa" providerId="ADAL" clId="{1EC2BAF6-7041-40FB-A31C-9F3EA475A9C3}" dt="2022-09-25T08:32:20.533" v="599"/>
          <ac:graphicFrameMkLst>
            <pc:docMk/>
            <pc:sldMk cId="1226275291" sldId="617"/>
            <ac:graphicFrameMk id="5" creationId="{00000000-0000-0000-0000-000000000000}"/>
          </ac:graphicFrameMkLst>
        </pc:graphicFrameChg>
        <pc:picChg chg="add del mod">
          <ac:chgData name="Matamoros, Eric" userId="7a10a9b0-7cd3-411b-b323-28f940d6dafa" providerId="ADAL" clId="{1EC2BAF6-7041-40FB-A31C-9F3EA475A9C3}" dt="2022-09-25T08:27:37.565" v="412" actId="478"/>
          <ac:picMkLst>
            <pc:docMk/>
            <pc:sldMk cId="1226275291" sldId="617"/>
            <ac:picMk id="7" creationId="{7EEDB301-3FF0-4C98-AEA5-DFB27A848A36}"/>
          </ac:picMkLst>
        </pc:picChg>
        <pc:picChg chg="add mod ord">
          <ac:chgData name="Matamoros, Eric" userId="7a10a9b0-7cd3-411b-b323-28f940d6dafa" providerId="ADAL" clId="{1EC2BAF6-7041-40FB-A31C-9F3EA475A9C3}" dt="2022-09-25T08:32:20.523" v="577"/>
          <ac:picMkLst>
            <pc:docMk/>
            <pc:sldMk cId="1226275291" sldId="617"/>
            <ac:picMk id="12" creationId="{E9354648-52AD-4469-8E23-BF1C99CC1F04}"/>
          </ac:picMkLst>
        </pc:picChg>
        <pc:picChg chg="mod">
          <ac:chgData name="Matamoros, Eric" userId="7a10a9b0-7cd3-411b-b323-28f940d6dafa" providerId="ADAL" clId="{1EC2BAF6-7041-40FB-A31C-9F3EA475A9C3}" dt="2022-09-25T08:16:09.707" v="381"/>
          <ac:picMkLst>
            <pc:docMk/>
            <pc:sldMk cId="1226275291" sldId="617"/>
            <ac:picMk id="25" creationId="{8E4C621A-808C-4A40-AECF-418F2822F1E2}"/>
          </ac:picMkLst>
        </pc:picChg>
        <pc:picChg chg="mod">
          <ac:chgData name="Matamoros, Eric" userId="7a10a9b0-7cd3-411b-b323-28f940d6dafa" providerId="ADAL" clId="{1EC2BAF6-7041-40FB-A31C-9F3EA475A9C3}" dt="2022-09-25T08:16:09.707" v="381"/>
          <ac:picMkLst>
            <pc:docMk/>
            <pc:sldMk cId="1226275291" sldId="617"/>
            <ac:picMk id="31" creationId="{1C7C78A3-E68E-4D38-BA5F-3302BDBEA513}"/>
          </ac:picMkLst>
        </pc:picChg>
        <pc:cxnChg chg="add mod ord">
          <ac:chgData name="Matamoros, Eric" userId="7a10a9b0-7cd3-411b-b323-28f940d6dafa" providerId="ADAL" clId="{1EC2BAF6-7041-40FB-A31C-9F3EA475A9C3}" dt="2022-09-25T08:32:20.524" v="579"/>
          <ac:cxnSpMkLst>
            <pc:docMk/>
            <pc:sldMk cId="1226275291" sldId="617"/>
            <ac:cxnSpMk id="14" creationId="{26E28435-DA41-454C-9DAC-5CC7E53CC850}"/>
          </ac:cxnSpMkLst>
        </pc:cxnChg>
        <pc:cxnChg chg="add del mod">
          <ac:chgData name="Matamoros, Eric" userId="7a10a9b0-7cd3-411b-b323-28f940d6dafa" providerId="ADAL" clId="{1EC2BAF6-7041-40FB-A31C-9F3EA475A9C3}" dt="2022-09-25T08:29:26.843" v="443" actId="478"/>
          <ac:cxnSpMkLst>
            <pc:docMk/>
            <pc:sldMk cId="1226275291" sldId="617"/>
            <ac:cxnSpMk id="18" creationId="{0600467D-8661-4505-B650-091E15881F75}"/>
          </ac:cxnSpMkLst>
        </pc:cxnChg>
        <pc:cxnChg chg="mod">
          <ac:chgData name="Matamoros, Eric" userId="7a10a9b0-7cd3-411b-b323-28f940d6dafa" providerId="ADAL" clId="{1EC2BAF6-7041-40FB-A31C-9F3EA475A9C3}" dt="2022-09-25T08:16:09.707" v="381"/>
          <ac:cxnSpMkLst>
            <pc:docMk/>
            <pc:sldMk cId="1226275291" sldId="617"/>
            <ac:cxnSpMk id="45" creationId="{0297486C-84EB-4A43-AB92-30C6911D03F2}"/>
          </ac:cxnSpMkLst>
        </pc:cxnChg>
        <pc:cxnChg chg="mod">
          <ac:chgData name="Matamoros, Eric" userId="7a10a9b0-7cd3-411b-b323-28f940d6dafa" providerId="ADAL" clId="{1EC2BAF6-7041-40FB-A31C-9F3EA475A9C3}" dt="2022-09-25T08:16:09.707" v="381"/>
          <ac:cxnSpMkLst>
            <pc:docMk/>
            <pc:sldMk cId="1226275291" sldId="617"/>
            <ac:cxnSpMk id="48" creationId="{00486CFB-FF6E-4627-8697-9B1EFE72C135}"/>
          </ac:cxnSpMkLst>
        </pc:cxnChg>
        <pc:cxnChg chg="mod">
          <ac:chgData name="Matamoros, Eric" userId="7a10a9b0-7cd3-411b-b323-28f940d6dafa" providerId="ADAL" clId="{1EC2BAF6-7041-40FB-A31C-9F3EA475A9C3}" dt="2022-09-25T08:16:09.707" v="381"/>
          <ac:cxnSpMkLst>
            <pc:docMk/>
            <pc:sldMk cId="1226275291" sldId="617"/>
            <ac:cxnSpMk id="50" creationId="{9B3B640F-C8DF-478F-B0A9-85451B09115D}"/>
          </ac:cxnSpMkLst>
        </pc:cxnChg>
        <pc:cxnChg chg="add del mod">
          <ac:chgData name="Matamoros, Eric" userId="7a10a9b0-7cd3-411b-b323-28f940d6dafa" providerId="ADAL" clId="{1EC2BAF6-7041-40FB-A31C-9F3EA475A9C3}" dt="2022-09-25T08:30:00.515" v="451" actId="478"/>
          <ac:cxnSpMkLst>
            <pc:docMk/>
            <pc:sldMk cId="1226275291" sldId="617"/>
            <ac:cxnSpMk id="53" creationId="{12D00F8B-3BB2-40F5-A2FE-102234E51B17}"/>
          </ac:cxnSpMkLst>
        </pc:cxnChg>
        <pc:cxnChg chg="add mod ord">
          <ac:chgData name="Matamoros, Eric" userId="7a10a9b0-7cd3-411b-b323-28f940d6dafa" providerId="ADAL" clId="{1EC2BAF6-7041-40FB-A31C-9F3EA475A9C3}" dt="2022-09-25T08:32:20.525" v="585"/>
          <ac:cxnSpMkLst>
            <pc:docMk/>
            <pc:sldMk cId="1226275291" sldId="617"/>
            <ac:cxnSpMk id="58" creationId="{ECEAABC9-4CEB-4184-BB0E-C062DC16672D}"/>
          </ac:cxnSpMkLst>
        </pc:cxnChg>
        <pc:cxnChg chg="add mod ord">
          <ac:chgData name="Matamoros, Eric" userId="7a10a9b0-7cd3-411b-b323-28f940d6dafa" providerId="ADAL" clId="{1EC2BAF6-7041-40FB-A31C-9F3EA475A9C3}" dt="2022-09-25T08:32:20.528" v="597"/>
          <ac:cxnSpMkLst>
            <pc:docMk/>
            <pc:sldMk cId="1226275291" sldId="617"/>
            <ac:cxnSpMk id="61" creationId="{9A6FC5DA-33D2-4A42-BA78-FBBAB6A6C601}"/>
          </ac:cxnSpMkLst>
        </pc:cxnChg>
        <pc:cxnChg chg="add mod ord">
          <ac:chgData name="Matamoros, Eric" userId="7a10a9b0-7cd3-411b-b323-28f940d6dafa" providerId="ADAL" clId="{1EC2BAF6-7041-40FB-A31C-9F3EA475A9C3}" dt="2022-09-25T08:32:20.526" v="589"/>
          <ac:cxnSpMkLst>
            <pc:docMk/>
            <pc:sldMk cId="1226275291" sldId="617"/>
            <ac:cxnSpMk id="65" creationId="{9E0C0FCA-2CF3-4475-9DCB-85D1EBE39B72}"/>
          </ac:cxnSpMkLst>
        </pc:cxnChg>
      </pc:sldChg>
      <pc:sldChg chg="add del ord">
        <pc:chgData name="Matamoros, Eric" userId="7a10a9b0-7cd3-411b-b323-28f940d6dafa" providerId="ADAL" clId="{1EC2BAF6-7041-40FB-A31C-9F3EA475A9C3}" dt="2022-09-25T08:46:46.686" v="1405" actId="47"/>
        <pc:sldMkLst>
          <pc:docMk/>
          <pc:sldMk cId="1369387528" sldId="618"/>
        </pc:sldMkLst>
      </pc:sldChg>
      <pc:sldChg chg="addSp delSp modSp new add mod ord">
        <pc:chgData name="Matamoros, Eric" userId="7a10a9b0-7cd3-411b-b323-28f940d6dafa" providerId="ADAL" clId="{1EC2BAF6-7041-40FB-A31C-9F3EA475A9C3}" dt="2022-09-25T08:45:26.158" v="1329" actId="1076"/>
        <pc:sldMkLst>
          <pc:docMk/>
          <pc:sldMk cId="1006034401" sldId="619"/>
        </pc:sldMkLst>
        <pc:spChg chg="add del mod">
          <ac:chgData name="Matamoros, Eric" userId="7a10a9b0-7cd3-411b-b323-28f940d6dafa" providerId="ADAL" clId="{1EC2BAF6-7041-40FB-A31C-9F3EA475A9C3}" dt="2022-09-25T08:37:26.561" v="781" actId="948"/>
          <ac:spMkLst>
            <pc:docMk/>
            <pc:sldMk cId="1006034401" sldId="619"/>
            <ac:spMk id="2" creationId="{3A680159-E6AC-4FD3-BA49-4A2C2EF379AA}"/>
          </ac:spMkLst>
        </pc:spChg>
        <pc:spChg chg="del">
          <ac:chgData name="Matamoros, Eric" userId="7a10a9b0-7cd3-411b-b323-28f940d6dafa" providerId="ADAL" clId="{1EC2BAF6-7041-40FB-A31C-9F3EA475A9C3}" dt="2022-09-25T08:37:21.875" v="748" actId="478"/>
          <ac:spMkLst>
            <pc:docMk/>
            <pc:sldMk cId="1006034401" sldId="619"/>
            <ac:spMk id="3" creationId="{89160C02-2A03-4968-8769-5826C77BCCF4}"/>
          </ac:spMkLst>
        </pc:spChg>
        <pc:spChg chg="add del mod modVis">
          <ac:chgData name="Matamoros, Eric" userId="7a10a9b0-7cd3-411b-b323-28f940d6dafa" providerId="ADAL" clId="{1EC2BAF6-7041-40FB-A31C-9F3EA475A9C3}" dt="2022-09-25T08:37:26.600" v="816"/>
          <ac:spMkLst>
            <pc:docMk/>
            <pc:sldMk cId="1006034401" sldId="619"/>
            <ac:spMk id="5" creationId="{2B11377B-F69D-4560-8576-45C8BC3CDAEE}"/>
          </ac:spMkLst>
        </pc:spChg>
        <pc:spChg chg="add mod">
          <ac:chgData name="Matamoros, Eric" userId="7a10a9b0-7cd3-411b-b323-28f940d6dafa" providerId="ADAL" clId="{1EC2BAF6-7041-40FB-A31C-9F3EA475A9C3}" dt="2022-09-25T08:45:26.158" v="1329" actId="1076"/>
          <ac:spMkLst>
            <pc:docMk/>
            <pc:sldMk cId="1006034401" sldId="619"/>
            <ac:spMk id="8" creationId="{A71D4ABA-D048-4E7D-A9B8-FD9CFBF52908}"/>
          </ac:spMkLst>
        </pc:spChg>
        <pc:spChg chg="add mod">
          <ac:chgData name="Matamoros, Eric" userId="7a10a9b0-7cd3-411b-b323-28f940d6dafa" providerId="ADAL" clId="{1EC2BAF6-7041-40FB-A31C-9F3EA475A9C3}" dt="2022-09-25T08:45:26.158" v="1329" actId="1076"/>
          <ac:spMkLst>
            <pc:docMk/>
            <pc:sldMk cId="1006034401" sldId="619"/>
            <ac:spMk id="9" creationId="{33FACD51-BE47-4450-9672-BBA3CBE88C91}"/>
          </ac:spMkLst>
        </pc:spChg>
        <pc:graphicFrameChg chg="add mod ord modVis">
          <ac:chgData name="Matamoros, Eric" userId="7a10a9b0-7cd3-411b-b323-28f940d6dafa" providerId="ADAL" clId="{1EC2BAF6-7041-40FB-A31C-9F3EA475A9C3}" dt="2022-09-25T08:37:24.029" v="771" actId="14100"/>
          <ac:graphicFrameMkLst>
            <pc:docMk/>
            <pc:sldMk cId="1006034401" sldId="619"/>
            <ac:graphicFrameMk id="4" creationId="{7B089CA4-4DE4-4C38-859F-8EE02069D6C7}"/>
          </ac:graphicFrameMkLst>
        </pc:graphicFrameChg>
        <pc:graphicFrameChg chg="add mod ord modVis">
          <ac:chgData name="Matamoros, Eric" userId="7a10a9b0-7cd3-411b-b323-28f940d6dafa" providerId="ADAL" clId="{1EC2BAF6-7041-40FB-A31C-9F3EA475A9C3}" dt="2022-09-25T08:37:26.653" v="831"/>
          <ac:graphicFrameMkLst>
            <pc:docMk/>
            <pc:sldMk cId="1006034401" sldId="619"/>
            <ac:graphicFrameMk id="6" creationId="{C14D34BB-D59D-4BB8-8EE2-6E53D85F0A1D}"/>
          </ac:graphicFrameMkLst>
        </pc:graphicFrameChg>
        <pc:picChg chg="add mod">
          <ac:chgData name="Matamoros, Eric" userId="7a10a9b0-7cd3-411b-b323-28f940d6dafa" providerId="ADAL" clId="{1EC2BAF6-7041-40FB-A31C-9F3EA475A9C3}" dt="2022-09-25T08:45:26.158" v="1329" actId="1076"/>
          <ac:picMkLst>
            <pc:docMk/>
            <pc:sldMk cId="1006034401" sldId="619"/>
            <ac:picMk id="11266" creationId="{FB6C8B94-3930-4397-B80E-90FDD23A684B}"/>
          </ac:picMkLst>
        </pc:picChg>
      </pc:sldChg>
      <pc:sldChg chg="modSp add mod ord">
        <pc:chgData name="Matamoros, Eric" userId="7a10a9b0-7cd3-411b-b323-28f940d6dafa" providerId="ADAL" clId="{1EC2BAF6-7041-40FB-A31C-9F3EA475A9C3}" dt="2022-09-25T08:46:10.123" v="1382" actId="20577"/>
        <pc:sldMkLst>
          <pc:docMk/>
          <pc:sldMk cId="634481039" sldId="620"/>
        </pc:sldMkLst>
        <pc:spChg chg="mod">
          <ac:chgData name="Matamoros, Eric" userId="7a10a9b0-7cd3-411b-b323-28f940d6dafa" providerId="ADAL" clId="{1EC2BAF6-7041-40FB-A31C-9F3EA475A9C3}" dt="2022-09-25T08:46:10.123" v="1382" actId="20577"/>
          <ac:spMkLst>
            <pc:docMk/>
            <pc:sldMk cId="634481039" sldId="620"/>
            <ac:spMk id="8" creationId="{00000000-0000-0000-0000-000000000000}"/>
          </ac:spMkLst>
        </pc:spChg>
      </pc:sldChg>
      <pc:sldChg chg="addSp delSp modSp add mod ord">
        <pc:chgData name="Matamoros, Eric" userId="7a10a9b0-7cd3-411b-b323-28f940d6dafa" providerId="ADAL" clId="{1EC2BAF6-7041-40FB-A31C-9F3EA475A9C3}" dt="2022-09-25T09:25:32.859" v="3094" actId="1076"/>
        <pc:sldMkLst>
          <pc:docMk/>
          <pc:sldMk cId="486640209" sldId="621"/>
        </pc:sldMkLst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2" creationId="{00000000-0000-0000-0000-000000000000}"/>
          </ac:spMkLst>
        </pc:spChg>
        <pc:spChg chg="mod ord">
          <ac:chgData name="Matamoros, Eric" userId="7a10a9b0-7cd3-411b-b323-28f940d6dafa" providerId="ADAL" clId="{1EC2BAF6-7041-40FB-A31C-9F3EA475A9C3}" dt="2022-09-25T09:18:17.305" v="2908"/>
          <ac:spMkLst>
            <pc:docMk/>
            <pc:sldMk cId="486640209" sldId="621"/>
            <ac:spMk id="3" creationId="{00000000-0000-0000-0000-000000000000}"/>
          </ac:spMkLst>
        </pc:spChg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4" creationId="{00000000-0000-0000-0000-000000000000}"/>
          </ac:spMkLst>
        </pc:spChg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6" creationId="{00000000-0000-0000-0000-000000000000}"/>
          </ac:spMkLst>
        </pc:spChg>
        <pc:spChg chg="add del mod">
          <ac:chgData name="Matamoros, Eric" userId="7a10a9b0-7cd3-411b-b323-28f940d6dafa" providerId="ADAL" clId="{1EC2BAF6-7041-40FB-A31C-9F3EA475A9C3}" dt="2022-09-25T08:46:31.208" v="1390" actId="478"/>
          <ac:spMkLst>
            <pc:docMk/>
            <pc:sldMk cId="486640209" sldId="621"/>
            <ac:spMk id="8" creationId="{66A996E8-1C8D-4788-A76F-15880A0DBD37}"/>
          </ac:spMkLst>
        </pc:spChg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9" creationId="{00000000-0000-0000-0000-000000000000}"/>
          </ac:spMkLst>
        </pc:spChg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10" creationId="{00000000-0000-0000-0000-000000000000}"/>
          </ac:spMkLst>
        </pc:spChg>
        <pc:spChg chg="add del mod">
          <ac:chgData name="Matamoros, Eric" userId="7a10a9b0-7cd3-411b-b323-28f940d6dafa" providerId="ADAL" clId="{1EC2BAF6-7041-40FB-A31C-9F3EA475A9C3}" dt="2022-09-25T08:46:37.263" v="1395"/>
          <ac:spMkLst>
            <pc:docMk/>
            <pc:sldMk cId="486640209" sldId="621"/>
            <ac:spMk id="13" creationId="{2C00D04D-0C01-479D-8A09-FD92AD5BEED5}"/>
          </ac:spMkLst>
        </pc:spChg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14" creationId="{00000000-0000-0000-0000-000000000000}"/>
          </ac:spMkLst>
        </pc:spChg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15" creationId="{58E3DB18-2BB2-4632-B195-11F473F4FBA2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16" creationId="{12C46F2D-4CA5-4B08-9BC0-3B3999CB4A06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17" creationId="{1DBB6627-6384-4151-A7B5-CAE823D62B30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18" creationId="{6CD09777-DFEB-4F81-8C6D-3DB50DA196AB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19" creationId="{C7DAF9AA-1E09-4B3A-95F4-9402B2BA4797}"/>
          </ac:spMkLst>
        </pc:spChg>
        <pc:spChg chg="add mod ord">
          <ac:chgData name="Matamoros, Eric" userId="7a10a9b0-7cd3-411b-b323-28f940d6dafa" providerId="ADAL" clId="{1EC2BAF6-7041-40FB-A31C-9F3EA475A9C3}" dt="2022-09-25T09:18:17.306" v="2910"/>
          <ac:spMkLst>
            <pc:docMk/>
            <pc:sldMk cId="486640209" sldId="621"/>
            <ac:spMk id="21" creationId="{2AD6FA87-5538-40AF-9DA2-BDD10DD2A120}"/>
          </ac:spMkLst>
        </pc:spChg>
        <pc:spChg chg="add del mod">
          <ac:chgData name="Matamoros, Eric" userId="7a10a9b0-7cd3-411b-b323-28f940d6dafa" providerId="ADAL" clId="{1EC2BAF6-7041-40FB-A31C-9F3EA475A9C3}" dt="2022-09-25T08:47:30.383" v="1513" actId="478"/>
          <ac:spMkLst>
            <pc:docMk/>
            <pc:sldMk cId="486640209" sldId="621"/>
            <ac:spMk id="23" creationId="{71BC4CEE-F29C-4B2F-A18B-33117F76B9F4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26" creationId="{8027CD6B-0D74-4FD5-8BB7-A0A52D3C9F25}"/>
          </ac:spMkLst>
        </pc:spChg>
        <pc:spChg chg="add del mod">
          <ac:chgData name="Matamoros, Eric" userId="7a10a9b0-7cd3-411b-b323-28f940d6dafa" providerId="ADAL" clId="{1EC2BAF6-7041-40FB-A31C-9F3EA475A9C3}" dt="2022-09-25T09:12:01.938" v="2596" actId="21"/>
          <ac:spMkLst>
            <pc:docMk/>
            <pc:sldMk cId="486640209" sldId="621"/>
            <ac:spMk id="27" creationId="{DD2ED36E-866B-4CE0-A99C-3FDFAAB40B3B}"/>
          </ac:spMkLst>
        </pc:spChg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28" creationId="{00000000-0000-0000-0000-000000000000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29" creationId="{3097848D-090A-4EED-BAD7-4214409E2B92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30" creationId="{B316A194-CE65-4A49-ADF7-4A6CA81D3516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31" creationId="{477B7A5A-5C88-4912-B338-C5EB023E0C98}"/>
          </ac:spMkLst>
        </pc:spChg>
        <pc:spChg chg="del">
          <ac:chgData name="Matamoros, Eric" userId="7a10a9b0-7cd3-411b-b323-28f940d6dafa" providerId="ADAL" clId="{1EC2BAF6-7041-40FB-A31C-9F3EA475A9C3}" dt="2022-09-25T08:46:29.103" v="1387" actId="478"/>
          <ac:spMkLst>
            <pc:docMk/>
            <pc:sldMk cId="486640209" sldId="621"/>
            <ac:spMk id="33" creationId="{97FD245B-E14D-49CB-9947-A3B105E82CF2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35" creationId="{C408E987-EB9E-4AD9-B398-6F7D4DB74C7F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36" creationId="{340B2489-6C7C-4671-B047-DD9AD3C40C4E}"/>
          </ac:spMkLst>
        </pc:spChg>
        <pc:spChg chg="add del mod">
          <ac:chgData name="Matamoros, Eric" userId="7a10a9b0-7cd3-411b-b323-28f940d6dafa" providerId="ADAL" clId="{1EC2BAF6-7041-40FB-A31C-9F3EA475A9C3}" dt="2022-09-25T09:17:23.231" v="2840" actId="478"/>
          <ac:spMkLst>
            <pc:docMk/>
            <pc:sldMk cId="486640209" sldId="621"/>
            <ac:spMk id="37" creationId="{27DAF454-1E21-4053-A8EE-30541E1971FB}"/>
          </ac:spMkLst>
        </pc:spChg>
        <pc:spChg chg="add del mod">
          <ac:chgData name="Matamoros, Eric" userId="7a10a9b0-7cd3-411b-b323-28f940d6dafa" providerId="ADAL" clId="{1EC2BAF6-7041-40FB-A31C-9F3EA475A9C3}" dt="2022-09-25T09:17:23.231" v="2840" actId="478"/>
          <ac:spMkLst>
            <pc:docMk/>
            <pc:sldMk cId="486640209" sldId="621"/>
            <ac:spMk id="38" creationId="{980E4BA4-8092-4EC0-BE5F-6F5BDDFBCF3E}"/>
          </ac:spMkLst>
        </pc:spChg>
        <pc:spChg chg="add del mod">
          <ac:chgData name="Matamoros, Eric" userId="7a10a9b0-7cd3-411b-b323-28f940d6dafa" providerId="ADAL" clId="{1EC2BAF6-7041-40FB-A31C-9F3EA475A9C3}" dt="2022-09-25T09:17:23.231" v="2840" actId="478"/>
          <ac:spMkLst>
            <pc:docMk/>
            <pc:sldMk cId="486640209" sldId="621"/>
            <ac:spMk id="39" creationId="{9EE92527-384E-4CB7-8E14-F2E0382ABEFC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40" creationId="{0947BDD5-9170-44C0-90CE-B671A336171D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41" creationId="{028D3886-708E-4AC5-A7E3-49CAE82C41EC}"/>
          </ac:spMkLst>
        </pc:spChg>
        <pc:spChg chg="add mod ord">
          <ac:chgData name="Matamoros, Eric" userId="7a10a9b0-7cd3-411b-b323-28f940d6dafa" providerId="ADAL" clId="{1EC2BAF6-7041-40FB-A31C-9F3EA475A9C3}" dt="2022-09-25T09:25:32.859" v="3094" actId="1076"/>
          <ac:spMkLst>
            <pc:docMk/>
            <pc:sldMk cId="486640209" sldId="621"/>
            <ac:spMk id="42" creationId="{71A48A52-42AC-4B03-86AA-5B46288680B8}"/>
          </ac:spMkLst>
        </pc:spChg>
        <pc:grpChg chg="del">
          <ac:chgData name="Matamoros, Eric" userId="7a10a9b0-7cd3-411b-b323-28f940d6dafa" providerId="ADAL" clId="{1EC2BAF6-7041-40FB-A31C-9F3EA475A9C3}" dt="2022-09-25T08:46:29.103" v="1387" actId="478"/>
          <ac:grpSpMkLst>
            <pc:docMk/>
            <pc:sldMk cId="486640209" sldId="621"/>
            <ac:grpSpMk id="12" creationId="{2257CB05-B7AF-4921-8BAE-7F72538113E6}"/>
          </ac:grpSpMkLst>
        </pc:grpChg>
        <pc:graphicFrameChg chg="mod">
          <ac:chgData name="Matamoros, Eric" userId="7a10a9b0-7cd3-411b-b323-28f940d6dafa" providerId="ADAL" clId="{1EC2BAF6-7041-40FB-A31C-9F3EA475A9C3}" dt="2022-09-25T09:18:17.342" v="2938"/>
          <ac:graphicFrameMkLst>
            <pc:docMk/>
            <pc:sldMk cId="486640209" sldId="621"/>
            <ac:graphicFrameMk id="5" creationId="{00000000-0000-0000-0000-000000000000}"/>
          </ac:graphicFrameMkLst>
        </pc:graphicFrameChg>
        <pc:picChg chg="del">
          <ac:chgData name="Matamoros, Eric" userId="7a10a9b0-7cd3-411b-b323-28f940d6dafa" providerId="ADAL" clId="{1EC2BAF6-7041-40FB-A31C-9F3EA475A9C3}" dt="2022-09-25T08:46:29.103" v="1387" actId="478"/>
          <ac:picMkLst>
            <pc:docMk/>
            <pc:sldMk cId="486640209" sldId="621"/>
            <ac:picMk id="34" creationId="{00000000-0000-0000-0000-000000000000}"/>
          </ac:picMkLst>
        </pc:picChg>
        <pc:cxnChg chg="del">
          <ac:chgData name="Matamoros, Eric" userId="7a10a9b0-7cd3-411b-b323-28f940d6dafa" providerId="ADAL" clId="{1EC2BAF6-7041-40FB-A31C-9F3EA475A9C3}" dt="2022-09-25T08:46:29.103" v="1387" actId="478"/>
          <ac:cxnSpMkLst>
            <pc:docMk/>
            <pc:sldMk cId="486640209" sldId="621"/>
            <ac:cxnSpMk id="11" creationId="{23D9966C-80C1-432D-9949-CBB2CF6BAE72}"/>
          </ac:cxnSpMkLst>
        </pc:cxnChg>
      </pc:sldChg>
      <pc:sldChg chg="addSp delSp modSp add mod ord">
        <pc:chgData name="Matamoros, Eric" userId="7a10a9b0-7cd3-411b-b323-28f940d6dafa" providerId="ADAL" clId="{1EC2BAF6-7041-40FB-A31C-9F3EA475A9C3}" dt="2022-09-25T09:00:33.341" v="2032" actId="114"/>
        <pc:sldMkLst>
          <pc:docMk/>
          <pc:sldMk cId="4007821504" sldId="622"/>
        </pc:sldMkLst>
        <pc:spChg chg="add del mod modVis">
          <ac:chgData name="Matamoros, Eric" userId="7a10a9b0-7cd3-411b-b323-28f940d6dafa" providerId="ADAL" clId="{1EC2BAF6-7041-40FB-A31C-9F3EA475A9C3}" dt="2022-09-25T08:54:53.501" v="1565"/>
          <ac:spMkLst>
            <pc:docMk/>
            <pc:sldMk cId="4007821504" sldId="622"/>
            <ac:spMk id="2" creationId="{446F6075-485C-4A3C-B473-0A4830FC9012}"/>
          </ac:spMkLst>
        </pc:spChg>
        <pc:spChg chg="add del mod modVis">
          <ac:chgData name="Matamoros, Eric" userId="7a10a9b0-7cd3-411b-b323-28f940d6dafa" providerId="ADAL" clId="{1EC2BAF6-7041-40FB-A31C-9F3EA475A9C3}" dt="2022-09-25T08:54:54.227" v="1606"/>
          <ac:spMkLst>
            <pc:docMk/>
            <pc:sldMk cId="4007821504" sldId="622"/>
            <ac:spMk id="4" creationId="{431CFDAF-F7D7-4DC8-B868-1AA9D640A052}"/>
          </ac:spMkLst>
        </pc:spChg>
        <pc:spChg chg="add del mod modVis">
          <ac:chgData name="Matamoros, Eric" userId="7a10a9b0-7cd3-411b-b323-28f940d6dafa" providerId="ADAL" clId="{1EC2BAF6-7041-40FB-A31C-9F3EA475A9C3}" dt="2022-09-25T08:54:58.201" v="1667"/>
          <ac:spMkLst>
            <pc:docMk/>
            <pc:sldMk cId="4007821504" sldId="622"/>
            <ac:spMk id="6" creationId="{6BA40C0F-6F12-4321-B7F9-75F7AB2A5CAE}"/>
          </ac:spMkLst>
        </pc:spChg>
        <pc:spChg chg="add del mod">
          <ac:chgData name="Matamoros, Eric" userId="7a10a9b0-7cd3-411b-b323-28f940d6dafa" providerId="ADAL" clId="{1EC2BAF6-7041-40FB-A31C-9F3EA475A9C3}" dt="2022-09-25T08:55:19.411" v="1678"/>
          <ac:spMkLst>
            <pc:docMk/>
            <pc:sldMk cId="4007821504" sldId="622"/>
            <ac:spMk id="7" creationId="{B3477D78-F86A-4A85-8C83-43EB1EB90B42}"/>
          </ac:spMkLst>
        </pc:spChg>
        <pc:spChg chg="add del mod">
          <ac:chgData name="Matamoros, Eric" userId="7a10a9b0-7cd3-411b-b323-28f940d6dafa" providerId="ADAL" clId="{1EC2BAF6-7041-40FB-A31C-9F3EA475A9C3}" dt="2022-09-25T08:57:31.062" v="1766" actId="478"/>
          <ac:spMkLst>
            <pc:docMk/>
            <pc:sldMk cId="4007821504" sldId="622"/>
            <ac:spMk id="11" creationId="{1A3C543E-6BE6-4735-952E-14716222D2C4}"/>
          </ac:spMkLst>
        </pc:spChg>
        <pc:spChg chg="add mod">
          <ac:chgData name="Matamoros, Eric" userId="7a10a9b0-7cd3-411b-b323-28f940d6dafa" providerId="ADAL" clId="{1EC2BAF6-7041-40FB-A31C-9F3EA475A9C3}" dt="2022-09-25T08:58:31.352" v="1842" actId="20577"/>
          <ac:spMkLst>
            <pc:docMk/>
            <pc:sldMk cId="4007821504" sldId="622"/>
            <ac:spMk id="15" creationId="{D8E16727-1654-4190-A71A-39F4D9B7A56F}"/>
          </ac:spMkLst>
        </pc:spChg>
        <pc:spChg chg="del">
          <ac:chgData name="Matamoros, Eric" userId="7a10a9b0-7cd3-411b-b323-28f940d6dafa" providerId="ADAL" clId="{1EC2BAF6-7041-40FB-A31C-9F3EA475A9C3}" dt="2022-09-25T08:55:00.425" v="1671" actId="478"/>
          <ac:spMkLst>
            <pc:docMk/>
            <pc:sldMk cId="4007821504" sldId="622"/>
            <ac:spMk id="16" creationId="{12C46F2D-4CA5-4B08-9BC0-3B3999CB4A06}"/>
          </ac:spMkLst>
        </pc:spChg>
        <pc:spChg chg="del">
          <ac:chgData name="Matamoros, Eric" userId="7a10a9b0-7cd3-411b-b323-28f940d6dafa" providerId="ADAL" clId="{1EC2BAF6-7041-40FB-A31C-9F3EA475A9C3}" dt="2022-09-25T08:54:59.487" v="1670" actId="478"/>
          <ac:spMkLst>
            <pc:docMk/>
            <pc:sldMk cId="4007821504" sldId="622"/>
            <ac:spMk id="17" creationId="{1DBB6627-6384-4151-A7B5-CAE823D62B30}"/>
          </ac:spMkLst>
        </pc:spChg>
        <pc:spChg chg="add del mod">
          <ac:chgData name="Matamoros, Eric" userId="7a10a9b0-7cd3-411b-b323-28f940d6dafa" providerId="ADAL" clId="{1EC2BAF6-7041-40FB-A31C-9F3EA475A9C3}" dt="2022-09-25T08:57:31.062" v="1766" actId="478"/>
          <ac:spMkLst>
            <pc:docMk/>
            <pc:sldMk cId="4007821504" sldId="622"/>
            <ac:spMk id="18" creationId="{D3DCCE9C-5D66-4515-8A3C-3E4407C583CE}"/>
          </ac:spMkLst>
        </pc:spChg>
        <pc:spChg chg="add del mod">
          <ac:chgData name="Matamoros, Eric" userId="7a10a9b0-7cd3-411b-b323-28f940d6dafa" providerId="ADAL" clId="{1EC2BAF6-7041-40FB-A31C-9F3EA475A9C3}" dt="2022-09-25T08:57:31.062" v="1766" actId="478"/>
          <ac:spMkLst>
            <pc:docMk/>
            <pc:sldMk cId="4007821504" sldId="622"/>
            <ac:spMk id="20" creationId="{095A9E85-AB38-499B-8BF4-03F49B324396}"/>
          </ac:spMkLst>
        </pc:spChg>
        <pc:spChg chg="mod">
          <ac:chgData name="Matamoros, Eric" userId="7a10a9b0-7cd3-411b-b323-28f940d6dafa" providerId="ADAL" clId="{1EC2BAF6-7041-40FB-A31C-9F3EA475A9C3}" dt="2022-09-25T08:54:58.156" v="1632" actId="948"/>
          <ac:spMkLst>
            <pc:docMk/>
            <pc:sldMk cId="4007821504" sldId="622"/>
            <ac:spMk id="21" creationId="{2AD6FA87-5538-40AF-9DA2-BDD10DD2A120}"/>
          </ac:spMkLst>
        </pc:spChg>
        <pc:spChg chg="add del mod">
          <ac:chgData name="Matamoros, Eric" userId="7a10a9b0-7cd3-411b-b323-28f940d6dafa" providerId="ADAL" clId="{1EC2BAF6-7041-40FB-A31C-9F3EA475A9C3}" dt="2022-09-25T08:57:31.062" v="1766" actId="478"/>
          <ac:spMkLst>
            <pc:docMk/>
            <pc:sldMk cId="4007821504" sldId="622"/>
            <ac:spMk id="23" creationId="{85FF20C1-7A8A-4035-BAC8-73C5FA363768}"/>
          </ac:spMkLst>
        </pc:spChg>
        <pc:spChg chg="add mod">
          <ac:chgData name="Matamoros, Eric" userId="7a10a9b0-7cd3-411b-b323-28f940d6dafa" providerId="ADAL" clId="{1EC2BAF6-7041-40FB-A31C-9F3EA475A9C3}" dt="2022-09-25T08:59:07.692" v="1892" actId="1076"/>
          <ac:spMkLst>
            <pc:docMk/>
            <pc:sldMk cId="4007821504" sldId="622"/>
            <ac:spMk id="25" creationId="{0924ED5A-3F9A-434D-AD8A-8503B55C77D9}"/>
          </ac:spMkLst>
        </pc:spChg>
        <pc:spChg chg="add mod">
          <ac:chgData name="Matamoros, Eric" userId="7a10a9b0-7cd3-411b-b323-28f940d6dafa" providerId="ADAL" clId="{1EC2BAF6-7041-40FB-A31C-9F3EA475A9C3}" dt="2022-09-25T08:59:26.500" v="1965" actId="20577"/>
          <ac:spMkLst>
            <pc:docMk/>
            <pc:sldMk cId="4007821504" sldId="622"/>
            <ac:spMk id="26" creationId="{5D282C1B-C037-4FD2-8A4A-5E2FD0720925}"/>
          </ac:spMkLst>
        </pc:spChg>
        <pc:spChg chg="add mod">
          <ac:chgData name="Matamoros, Eric" userId="7a10a9b0-7cd3-411b-b323-28f940d6dafa" providerId="ADAL" clId="{1EC2BAF6-7041-40FB-A31C-9F3EA475A9C3}" dt="2022-09-25T09:00:17.866" v="2012" actId="1076"/>
          <ac:spMkLst>
            <pc:docMk/>
            <pc:sldMk cId="4007821504" sldId="622"/>
            <ac:spMk id="27" creationId="{49C3B4A6-C6B3-4F7E-9113-C5184A08166B}"/>
          </ac:spMkLst>
        </pc:spChg>
        <pc:spChg chg="add mod">
          <ac:chgData name="Matamoros, Eric" userId="7a10a9b0-7cd3-411b-b323-28f940d6dafa" providerId="ADAL" clId="{1EC2BAF6-7041-40FB-A31C-9F3EA475A9C3}" dt="2022-09-25T09:00:33.341" v="2032" actId="114"/>
          <ac:spMkLst>
            <pc:docMk/>
            <pc:sldMk cId="4007821504" sldId="622"/>
            <ac:spMk id="29" creationId="{28341B51-7BD8-48EE-9306-9AB8BEB86EE8}"/>
          </ac:spMkLst>
        </pc:spChg>
        <pc:graphicFrameChg chg="mod">
          <ac:chgData name="Matamoros, Eric" userId="7a10a9b0-7cd3-411b-b323-28f940d6dafa" providerId="ADAL" clId="{1EC2BAF6-7041-40FB-A31C-9F3EA475A9C3}" dt="2022-09-25T08:54:58.205" v="1669"/>
          <ac:graphicFrameMkLst>
            <pc:docMk/>
            <pc:sldMk cId="4007821504" sldId="622"/>
            <ac:graphicFrameMk id="5" creationId="{00000000-0000-0000-0000-000000000000}"/>
          </ac:graphicFrameMkLst>
        </pc:graphicFrameChg>
        <pc:picChg chg="add mod">
          <ac:chgData name="Matamoros, Eric" userId="7a10a9b0-7cd3-411b-b323-28f940d6dafa" providerId="ADAL" clId="{1EC2BAF6-7041-40FB-A31C-9F3EA475A9C3}" dt="2022-09-25T08:57:38.790" v="1770" actId="1076"/>
          <ac:picMkLst>
            <pc:docMk/>
            <pc:sldMk cId="4007821504" sldId="622"/>
            <ac:picMk id="13314" creationId="{C0913D2E-3DAF-4226-9BC6-B1CCC62A2813}"/>
          </ac:picMkLst>
        </pc:picChg>
        <pc:cxnChg chg="add del mod">
          <ac:chgData name="Matamoros, Eric" userId="7a10a9b0-7cd3-411b-b323-28f940d6dafa" providerId="ADAL" clId="{1EC2BAF6-7041-40FB-A31C-9F3EA475A9C3}" dt="2022-09-25T08:55:45.604" v="1707" actId="478"/>
          <ac:cxnSpMkLst>
            <pc:docMk/>
            <pc:sldMk cId="4007821504" sldId="622"/>
            <ac:cxnSpMk id="9" creationId="{8694E382-782A-4079-988F-B0C6BDC22607}"/>
          </ac:cxnSpMkLst>
        </pc:cxnChg>
        <pc:cxnChg chg="add del mod">
          <ac:chgData name="Matamoros, Eric" userId="7a10a9b0-7cd3-411b-b323-28f940d6dafa" providerId="ADAL" clId="{1EC2BAF6-7041-40FB-A31C-9F3EA475A9C3}" dt="2022-09-25T08:57:31.062" v="1766" actId="478"/>
          <ac:cxnSpMkLst>
            <pc:docMk/>
            <pc:sldMk cId="4007821504" sldId="622"/>
            <ac:cxnSpMk id="12" creationId="{36639214-551E-45CB-AA2D-84CA67D7B49C}"/>
          </ac:cxnSpMkLst>
        </pc:cxnChg>
        <pc:cxnChg chg="add del mod">
          <ac:chgData name="Matamoros, Eric" userId="7a10a9b0-7cd3-411b-b323-28f940d6dafa" providerId="ADAL" clId="{1EC2BAF6-7041-40FB-A31C-9F3EA475A9C3}" dt="2022-09-25T08:57:31.062" v="1766" actId="478"/>
          <ac:cxnSpMkLst>
            <pc:docMk/>
            <pc:sldMk cId="4007821504" sldId="622"/>
            <ac:cxnSpMk id="19" creationId="{C260255F-4074-4461-A5A4-4C81FB2C8E31}"/>
          </ac:cxnSpMkLst>
        </pc:cxnChg>
        <pc:cxnChg chg="add del mod">
          <ac:chgData name="Matamoros, Eric" userId="7a10a9b0-7cd3-411b-b323-28f940d6dafa" providerId="ADAL" clId="{1EC2BAF6-7041-40FB-A31C-9F3EA475A9C3}" dt="2022-09-25T08:57:31.062" v="1766" actId="478"/>
          <ac:cxnSpMkLst>
            <pc:docMk/>
            <pc:sldMk cId="4007821504" sldId="622"/>
            <ac:cxnSpMk id="22" creationId="{09AA632B-B60B-471A-82B2-D370A1A8A6AA}"/>
          </ac:cxnSpMkLst>
        </pc:cxnChg>
      </pc:sldChg>
      <pc:sldChg chg="add del">
        <pc:chgData name="Matamoros, Eric" userId="7a10a9b0-7cd3-411b-b323-28f940d6dafa" providerId="ADAL" clId="{1EC2BAF6-7041-40FB-A31C-9F3EA475A9C3}" dt="2022-09-25T08:54:48.209" v="1520" actId="47"/>
        <pc:sldMkLst>
          <pc:docMk/>
          <pc:sldMk cId="4062045925" sldId="622"/>
        </pc:sldMkLst>
      </pc:sldChg>
      <pc:sldChg chg="addSp delSp modSp add mod ord">
        <pc:chgData name="Matamoros, Eric" userId="7a10a9b0-7cd3-411b-b323-28f940d6dafa" providerId="ADAL" clId="{1EC2BAF6-7041-40FB-A31C-9F3EA475A9C3}" dt="2022-09-25T09:32:19.217" v="3341"/>
        <pc:sldMkLst>
          <pc:docMk/>
          <pc:sldMk cId="458043077" sldId="623"/>
        </pc:sldMkLst>
        <pc:spChg chg="add mod">
          <ac:chgData name="Matamoros, Eric" userId="7a10a9b0-7cd3-411b-b323-28f940d6dafa" providerId="ADAL" clId="{1EC2BAF6-7041-40FB-A31C-9F3EA475A9C3}" dt="2022-09-25T09:28:29.278" v="3286" actId="1076"/>
          <ac:spMkLst>
            <pc:docMk/>
            <pc:sldMk cId="458043077" sldId="623"/>
            <ac:spMk id="3" creationId="{5FDBB414-73F5-4515-AA6F-5BA3BD5B3F25}"/>
          </ac:spMkLst>
        </pc:spChg>
        <pc:spChg chg="del">
          <ac:chgData name="Matamoros, Eric" userId="7a10a9b0-7cd3-411b-b323-28f940d6dafa" providerId="ADAL" clId="{1EC2BAF6-7041-40FB-A31C-9F3EA475A9C3}" dt="2022-09-25T09:26:17.239" v="3226" actId="478"/>
          <ac:spMkLst>
            <pc:docMk/>
            <pc:sldMk cId="458043077" sldId="623"/>
            <ac:spMk id="8" creationId="{52CEEDCF-7618-4772-AE66-B27CB226090C}"/>
          </ac:spMkLst>
        </pc:spChg>
        <pc:spChg chg="del">
          <ac:chgData name="Matamoros, Eric" userId="7a10a9b0-7cd3-411b-b323-28f940d6dafa" providerId="ADAL" clId="{1EC2BAF6-7041-40FB-A31C-9F3EA475A9C3}" dt="2022-09-25T09:26:17.239" v="3226" actId="478"/>
          <ac:spMkLst>
            <pc:docMk/>
            <pc:sldMk cId="458043077" sldId="623"/>
            <ac:spMk id="10" creationId="{94EFF3BD-5CED-4F14-98A1-2EAFC15EB799}"/>
          </ac:spMkLst>
        </pc:spChg>
        <pc:spChg chg="add del mod">
          <ac:chgData name="Matamoros, Eric" userId="7a10a9b0-7cd3-411b-b323-28f940d6dafa" providerId="ADAL" clId="{1EC2BAF6-7041-40FB-A31C-9F3EA475A9C3}" dt="2022-09-25T09:28:30.784" v="3287" actId="478"/>
          <ac:spMkLst>
            <pc:docMk/>
            <pc:sldMk cId="458043077" sldId="623"/>
            <ac:spMk id="12" creationId="{D76B12F5-D910-4117-991D-BDC5B159474E}"/>
          </ac:spMkLst>
        </pc:spChg>
        <pc:spChg chg="add del mod">
          <ac:chgData name="Matamoros, Eric" userId="7a10a9b0-7cd3-411b-b323-28f940d6dafa" providerId="ADAL" clId="{1EC2BAF6-7041-40FB-A31C-9F3EA475A9C3}" dt="2022-09-25T09:28:25.913" v="3284" actId="478"/>
          <ac:spMkLst>
            <pc:docMk/>
            <pc:sldMk cId="458043077" sldId="623"/>
            <ac:spMk id="13" creationId="{FC9A84CE-3997-4350-BF9D-2D77EBAB1BCD}"/>
          </ac:spMkLst>
        </pc:spChg>
        <pc:spChg chg="add mod">
          <ac:chgData name="Matamoros, Eric" userId="7a10a9b0-7cd3-411b-b323-28f940d6dafa" providerId="ADAL" clId="{1EC2BAF6-7041-40FB-A31C-9F3EA475A9C3}" dt="2022-09-25T09:26:58.454" v="3272" actId="1076"/>
          <ac:spMkLst>
            <pc:docMk/>
            <pc:sldMk cId="458043077" sldId="623"/>
            <ac:spMk id="14" creationId="{18A3E856-B086-480F-AB38-F1CB7E7F6F7E}"/>
          </ac:spMkLst>
        </pc:spChg>
        <pc:spChg chg="mod">
          <ac:chgData name="Matamoros, Eric" userId="7a10a9b0-7cd3-411b-b323-28f940d6dafa" providerId="ADAL" clId="{1EC2BAF6-7041-40FB-A31C-9F3EA475A9C3}" dt="2022-09-25T09:26:14.710" v="3223" actId="948"/>
          <ac:spMkLst>
            <pc:docMk/>
            <pc:sldMk cId="458043077" sldId="623"/>
            <ac:spMk id="15" creationId="{5602B11B-AB7A-4CE6-B00D-81C9360A9B7F}"/>
          </ac:spMkLst>
        </pc:spChg>
        <pc:spChg chg="del">
          <ac:chgData name="Matamoros, Eric" userId="7a10a9b0-7cd3-411b-b323-28f940d6dafa" providerId="ADAL" clId="{1EC2BAF6-7041-40FB-A31C-9F3EA475A9C3}" dt="2022-09-25T09:26:17.239" v="3226" actId="478"/>
          <ac:spMkLst>
            <pc:docMk/>
            <pc:sldMk cId="458043077" sldId="623"/>
            <ac:spMk id="16" creationId="{F14B0E73-F66B-41B5-9F42-8D5C514CF66F}"/>
          </ac:spMkLst>
        </pc:spChg>
        <pc:spChg chg="add del mod">
          <ac:chgData name="Matamoros, Eric" userId="7a10a9b0-7cd3-411b-b323-28f940d6dafa" providerId="ADAL" clId="{1EC2BAF6-7041-40FB-A31C-9F3EA475A9C3}" dt="2022-09-25T09:32:14.102" v="3339"/>
          <ac:spMkLst>
            <pc:docMk/>
            <pc:sldMk cId="458043077" sldId="623"/>
            <ac:spMk id="17" creationId="{F5C49973-A281-43AE-AF5A-0A76E7E2370E}"/>
          </ac:spMkLst>
        </pc:spChg>
        <pc:spChg chg="del">
          <ac:chgData name="Matamoros, Eric" userId="7a10a9b0-7cd3-411b-b323-28f940d6dafa" providerId="ADAL" clId="{1EC2BAF6-7041-40FB-A31C-9F3EA475A9C3}" dt="2022-09-25T09:26:19.525" v="3227" actId="478"/>
          <ac:spMkLst>
            <pc:docMk/>
            <pc:sldMk cId="458043077" sldId="623"/>
            <ac:spMk id="18" creationId="{953E6F29-92B5-41FD-940E-07ADFF801D84}"/>
          </ac:spMkLst>
        </pc:spChg>
        <pc:spChg chg="del">
          <ac:chgData name="Matamoros, Eric" userId="7a10a9b0-7cd3-411b-b323-28f940d6dafa" providerId="ADAL" clId="{1EC2BAF6-7041-40FB-A31C-9F3EA475A9C3}" dt="2022-09-25T09:26:17.239" v="3226" actId="478"/>
          <ac:spMkLst>
            <pc:docMk/>
            <pc:sldMk cId="458043077" sldId="623"/>
            <ac:spMk id="19" creationId="{AB25B62B-91DB-49FD-9EB0-925AEB9ED99C}"/>
          </ac:spMkLst>
        </pc:spChg>
        <pc:spChg chg="del">
          <ac:chgData name="Matamoros, Eric" userId="7a10a9b0-7cd3-411b-b323-28f940d6dafa" providerId="ADAL" clId="{1EC2BAF6-7041-40FB-A31C-9F3EA475A9C3}" dt="2022-09-25T09:26:17.239" v="3226" actId="478"/>
          <ac:spMkLst>
            <pc:docMk/>
            <pc:sldMk cId="458043077" sldId="623"/>
            <ac:spMk id="20" creationId="{BE27AF27-4787-4579-96D9-D1C53C829936}"/>
          </ac:spMkLst>
        </pc:spChg>
        <pc:spChg chg="add mod">
          <ac:chgData name="Matamoros, Eric" userId="7a10a9b0-7cd3-411b-b323-28f940d6dafa" providerId="ADAL" clId="{1EC2BAF6-7041-40FB-A31C-9F3EA475A9C3}" dt="2022-09-25T09:32:19.217" v="3341"/>
          <ac:spMkLst>
            <pc:docMk/>
            <pc:sldMk cId="458043077" sldId="623"/>
            <ac:spMk id="21" creationId="{2FB34182-449C-41DF-A1E2-56DD137385EB}"/>
          </ac:spMkLst>
        </pc:spChg>
        <pc:graphicFrameChg chg="mod">
          <ac:chgData name="Matamoros, Eric" userId="7a10a9b0-7cd3-411b-b323-28f940d6dafa" providerId="ADAL" clId="{1EC2BAF6-7041-40FB-A31C-9F3EA475A9C3}" dt="2022-09-25T09:26:14.726" v="3225"/>
          <ac:graphicFrameMkLst>
            <pc:docMk/>
            <pc:sldMk cId="458043077" sldId="623"/>
            <ac:graphicFrameMk id="2" creationId="{2B314F2A-B0F3-48AD-9A1E-79090C21F9F4}"/>
          </ac:graphicFrameMkLst>
        </pc:graphicFrameChg>
        <pc:picChg chg="del">
          <ac:chgData name="Matamoros, Eric" userId="7a10a9b0-7cd3-411b-b323-28f940d6dafa" providerId="ADAL" clId="{1EC2BAF6-7041-40FB-A31C-9F3EA475A9C3}" dt="2022-09-25T09:26:17.239" v="3226" actId="478"/>
          <ac:picMkLst>
            <pc:docMk/>
            <pc:sldMk cId="458043077" sldId="623"/>
            <ac:picMk id="4" creationId="{89065D2B-327E-4596-AD20-256118A8A51B}"/>
          </ac:picMkLst>
        </pc:picChg>
        <pc:picChg chg="add del mod">
          <ac:chgData name="Matamoros, Eric" userId="7a10a9b0-7cd3-411b-b323-28f940d6dafa" providerId="ADAL" clId="{1EC2BAF6-7041-40FB-A31C-9F3EA475A9C3}" dt="2022-09-25T09:28:19.994" v="3280" actId="478"/>
          <ac:picMkLst>
            <pc:docMk/>
            <pc:sldMk cId="458043077" sldId="623"/>
            <ac:picMk id="14338" creationId="{EF3F4261-4959-4A02-8156-DBE78A42A428}"/>
          </ac:picMkLst>
        </pc:picChg>
        <pc:picChg chg="add mod">
          <ac:chgData name="Matamoros, Eric" userId="7a10a9b0-7cd3-411b-b323-28f940d6dafa" providerId="ADAL" clId="{1EC2BAF6-7041-40FB-A31C-9F3EA475A9C3}" dt="2022-09-25T09:28:32.672" v="3288" actId="1076"/>
          <ac:picMkLst>
            <pc:docMk/>
            <pc:sldMk cId="458043077" sldId="623"/>
            <ac:picMk id="14340" creationId="{C009D867-F3FC-4751-B6E1-BA6D9DF9D412}"/>
          </ac:picMkLst>
        </pc:picChg>
      </pc:sldChg>
      <pc:sldChg chg="addSp delSp modSp add mod">
        <pc:chgData name="Matamoros, Eric" userId="7a10a9b0-7cd3-411b-b323-28f940d6dafa" providerId="ADAL" clId="{1EC2BAF6-7041-40FB-A31C-9F3EA475A9C3}" dt="2022-09-25T09:44:46.622" v="3346" actId="1076"/>
        <pc:sldMkLst>
          <pc:docMk/>
          <pc:sldMk cId="89085223" sldId="624"/>
        </pc:sldMkLst>
        <pc:spChg chg="mod">
          <ac:chgData name="Matamoros, Eric" userId="7a10a9b0-7cd3-411b-b323-28f940d6dafa" providerId="ADAL" clId="{1EC2BAF6-7041-40FB-A31C-9F3EA475A9C3}" dt="2022-09-25T09:29:40.874" v="3299" actId="20577"/>
          <ac:spMkLst>
            <pc:docMk/>
            <pc:sldMk cId="89085223" sldId="624"/>
            <ac:spMk id="3" creationId="{5FDBB414-73F5-4515-AA6F-5BA3BD5B3F25}"/>
          </ac:spMkLst>
        </pc:spChg>
        <pc:spChg chg="add del mod">
          <ac:chgData name="Matamoros, Eric" userId="7a10a9b0-7cd3-411b-b323-28f940d6dafa" providerId="ADAL" clId="{1EC2BAF6-7041-40FB-A31C-9F3EA475A9C3}" dt="2022-09-25T09:32:31.592" v="3345" actId="478"/>
          <ac:spMkLst>
            <pc:docMk/>
            <pc:sldMk cId="89085223" sldId="624"/>
            <ac:spMk id="5" creationId="{0D17F5DB-6BA8-4B79-81CB-3E94039C6D9B}"/>
          </ac:spMkLst>
        </pc:spChg>
        <pc:spChg chg="add mod">
          <ac:chgData name="Matamoros, Eric" userId="7a10a9b0-7cd3-411b-b323-28f940d6dafa" providerId="ADAL" clId="{1EC2BAF6-7041-40FB-A31C-9F3EA475A9C3}" dt="2022-09-25T09:32:22.958" v="3342" actId="14100"/>
          <ac:spMkLst>
            <pc:docMk/>
            <pc:sldMk cId="89085223" sldId="624"/>
            <ac:spMk id="9" creationId="{0D72DA44-CD04-4205-BE5D-5F03DEA634D1}"/>
          </ac:spMkLst>
        </pc:spChg>
        <pc:spChg chg="del">
          <ac:chgData name="Matamoros, Eric" userId="7a10a9b0-7cd3-411b-b323-28f940d6dafa" providerId="ADAL" clId="{1EC2BAF6-7041-40FB-A31C-9F3EA475A9C3}" dt="2022-09-25T09:29:57.402" v="3303" actId="478"/>
          <ac:spMkLst>
            <pc:docMk/>
            <pc:sldMk cId="89085223" sldId="624"/>
            <ac:spMk id="14" creationId="{18A3E856-B086-480F-AB38-F1CB7E7F6F7E}"/>
          </ac:spMkLst>
        </pc:spChg>
        <pc:picChg chg="del">
          <ac:chgData name="Matamoros, Eric" userId="7a10a9b0-7cd3-411b-b323-28f940d6dafa" providerId="ADAL" clId="{1EC2BAF6-7041-40FB-A31C-9F3EA475A9C3}" dt="2022-09-25T09:29:53.908" v="3300" actId="478"/>
          <ac:picMkLst>
            <pc:docMk/>
            <pc:sldMk cId="89085223" sldId="624"/>
            <ac:picMk id="14340" creationId="{C009D867-F3FC-4751-B6E1-BA6D9DF9D412}"/>
          </ac:picMkLst>
        </pc:picChg>
        <pc:picChg chg="add mod">
          <ac:chgData name="Matamoros, Eric" userId="7a10a9b0-7cd3-411b-b323-28f940d6dafa" providerId="ADAL" clId="{1EC2BAF6-7041-40FB-A31C-9F3EA475A9C3}" dt="2022-09-25T09:44:46.622" v="3346" actId="1076"/>
          <ac:picMkLst>
            <pc:docMk/>
            <pc:sldMk cId="89085223" sldId="624"/>
            <ac:picMk id="15362" creationId="{30977469-E04F-434F-B40F-DE25F34DF36D}"/>
          </ac:picMkLst>
        </pc:picChg>
      </pc:sldChg>
      <pc:sldChg chg="new add del">
        <pc:chgData name="Matamoros, Eric" userId="7a10a9b0-7cd3-411b-b323-28f940d6dafa" providerId="ADAL" clId="{1EC2BAF6-7041-40FB-A31C-9F3EA475A9C3}" dt="2022-09-26T13:41:43.899" v="3350" actId="47"/>
        <pc:sldMkLst>
          <pc:docMk/>
          <pc:sldMk cId="910674761" sldId="625"/>
        </pc:sldMkLst>
      </pc:sldChg>
      <pc:sldChg chg="addSp delSp modSp add mod ord">
        <pc:chgData name="Matamoros, Eric" userId="7a10a9b0-7cd3-411b-b323-28f940d6dafa" providerId="ADAL" clId="{1EC2BAF6-7041-40FB-A31C-9F3EA475A9C3}" dt="2022-09-26T13:43:09.522" v="3898" actId="1076"/>
        <pc:sldMkLst>
          <pc:docMk/>
          <pc:sldMk cId="1371552080" sldId="625"/>
        </pc:sldMkLst>
        <pc:spChg chg="mod">
          <ac:chgData name="Matamoros, Eric" userId="7a10a9b0-7cd3-411b-b323-28f940d6dafa" providerId="ADAL" clId="{1EC2BAF6-7041-40FB-A31C-9F3EA475A9C3}" dt="2022-09-26T13:43:08.066" v="3860" actId="948"/>
          <ac:spMkLst>
            <pc:docMk/>
            <pc:sldMk cId="1371552080" sldId="625"/>
            <ac:spMk id="2" creationId="{00000000-0000-0000-0000-000000000000}"/>
          </ac:spMkLst>
        </pc:spChg>
        <pc:spChg chg="add del mod modVis">
          <ac:chgData name="Matamoros, Eric" userId="7a10a9b0-7cd3-411b-b323-28f940d6dafa" providerId="ADAL" clId="{1EC2BAF6-7041-40FB-A31C-9F3EA475A9C3}" dt="2022-09-26T13:42:39.654" v="3584"/>
          <ac:spMkLst>
            <pc:docMk/>
            <pc:sldMk cId="1371552080" sldId="625"/>
            <ac:spMk id="5" creationId="{C9808947-5787-4779-9C87-2CDBA33218DA}"/>
          </ac:spMkLst>
        </pc:spChg>
        <pc:spChg chg="add del mod modVis">
          <ac:chgData name="Matamoros, Eric" userId="7a10a9b0-7cd3-411b-b323-28f940d6dafa" providerId="ADAL" clId="{1EC2BAF6-7041-40FB-A31C-9F3EA475A9C3}" dt="2022-09-26T13:42:45.118" v="3653"/>
          <ac:spMkLst>
            <pc:docMk/>
            <pc:sldMk cId="1371552080" sldId="625"/>
            <ac:spMk id="6" creationId="{759F9219-919D-442B-949F-CE13CE859230}"/>
          </ac:spMkLst>
        </pc:spChg>
        <pc:spChg chg="add del mod modVis">
          <ac:chgData name="Matamoros, Eric" userId="7a10a9b0-7cd3-411b-b323-28f940d6dafa" providerId="ADAL" clId="{1EC2BAF6-7041-40FB-A31C-9F3EA475A9C3}" dt="2022-09-26T13:42:48.159" v="3710"/>
          <ac:spMkLst>
            <pc:docMk/>
            <pc:sldMk cId="1371552080" sldId="625"/>
            <ac:spMk id="7" creationId="{B794A3B4-669A-4809-A4AB-D082D6B52BCE}"/>
          </ac:spMkLst>
        </pc:spChg>
        <pc:spChg chg="add del mod modVis">
          <ac:chgData name="Matamoros, Eric" userId="7a10a9b0-7cd3-411b-b323-28f940d6dafa" providerId="ADAL" clId="{1EC2BAF6-7041-40FB-A31C-9F3EA475A9C3}" dt="2022-09-26T13:42:56.292" v="3778"/>
          <ac:spMkLst>
            <pc:docMk/>
            <pc:sldMk cId="1371552080" sldId="625"/>
            <ac:spMk id="8" creationId="{9CBD9F37-7F5B-492C-A9B8-139716227EE2}"/>
          </ac:spMkLst>
        </pc:spChg>
        <pc:spChg chg="add del mod modVis">
          <ac:chgData name="Matamoros, Eric" userId="7a10a9b0-7cd3-411b-b323-28f940d6dafa" providerId="ADAL" clId="{1EC2BAF6-7041-40FB-A31C-9F3EA475A9C3}" dt="2022-09-26T13:42:58.131" v="3817"/>
          <ac:spMkLst>
            <pc:docMk/>
            <pc:sldMk cId="1371552080" sldId="625"/>
            <ac:spMk id="9" creationId="{3E4C51A7-5BFD-4D09-963C-3E644CAB1626}"/>
          </ac:spMkLst>
        </pc:spChg>
        <pc:spChg chg="add del mod modVis">
          <ac:chgData name="Matamoros, Eric" userId="7a10a9b0-7cd3-411b-b323-28f940d6dafa" providerId="ADAL" clId="{1EC2BAF6-7041-40FB-A31C-9F3EA475A9C3}" dt="2022-09-26T13:42:58.797" v="3856"/>
          <ac:spMkLst>
            <pc:docMk/>
            <pc:sldMk cId="1371552080" sldId="625"/>
            <ac:spMk id="10" creationId="{6265C774-A80A-4036-AB35-C3E9C9C763B4}"/>
          </ac:spMkLst>
        </pc:spChg>
        <pc:spChg chg="add del mod modVis">
          <ac:chgData name="Matamoros, Eric" userId="7a10a9b0-7cd3-411b-b323-28f940d6dafa" providerId="ADAL" clId="{1EC2BAF6-7041-40FB-A31C-9F3EA475A9C3}" dt="2022-09-26T13:43:08.141" v="3895"/>
          <ac:spMkLst>
            <pc:docMk/>
            <pc:sldMk cId="1371552080" sldId="625"/>
            <ac:spMk id="11" creationId="{45967399-F363-4026-BBA1-25FC487676E2}"/>
          </ac:spMkLst>
        </pc:spChg>
        <pc:grpChg chg="del">
          <ac:chgData name="Matamoros, Eric" userId="7a10a9b0-7cd3-411b-b323-28f940d6dafa" providerId="ADAL" clId="{1EC2BAF6-7041-40FB-A31C-9F3EA475A9C3}" dt="2022-09-26T13:42:07.564" v="3533" actId="478"/>
          <ac:grpSpMkLst>
            <pc:docMk/>
            <pc:sldMk cId="1371552080" sldId="625"/>
            <ac:grpSpMk id="16" creationId="{8F12F28D-5D1E-4F7D-B748-0D95855385EC}"/>
          </ac:grpSpMkLst>
        </pc:grpChg>
        <pc:graphicFrameChg chg="mod">
          <ac:chgData name="Matamoros, Eric" userId="7a10a9b0-7cd3-411b-b323-28f940d6dafa" providerId="ADAL" clId="{1EC2BAF6-7041-40FB-A31C-9F3EA475A9C3}" dt="2022-09-26T13:43:08.147" v="3897"/>
          <ac:graphicFrameMkLst>
            <pc:docMk/>
            <pc:sldMk cId="1371552080" sldId="625"/>
            <ac:graphicFrameMk id="4" creationId="{00000000-0000-0000-0000-000000000000}"/>
          </ac:graphicFrameMkLst>
        </pc:graphicFrameChg>
        <pc:picChg chg="add mod">
          <ac:chgData name="Matamoros, Eric" userId="7a10a9b0-7cd3-411b-b323-28f940d6dafa" providerId="ADAL" clId="{1EC2BAF6-7041-40FB-A31C-9F3EA475A9C3}" dt="2022-09-26T13:43:09.522" v="3898" actId="1076"/>
          <ac:picMkLst>
            <pc:docMk/>
            <pc:sldMk cId="1371552080" sldId="625"/>
            <ac:picMk id="16386" creationId="{62222E36-701D-47AD-9B26-43DF7BB5EAEA}"/>
          </ac:picMkLst>
        </pc:picChg>
        <pc:cxnChg chg="mod">
          <ac:chgData name="Matamoros, Eric" userId="7a10a9b0-7cd3-411b-b323-28f940d6dafa" providerId="ADAL" clId="{1EC2BAF6-7041-40FB-A31C-9F3EA475A9C3}" dt="2022-09-26T13:42:07.564" v="3533" actId="478"/>
          <ac:cxnSpMkLst>
            <pc:docMk/>
            <pc:sldMk cId="1371552080" sldId="625"/>
            <ac:cxnSpMk id="71" creationId="{00000000-0000-0000-0000-000000000000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B60FF-ACF0-5A4A-9C79-4881E6B16567}" type="datetimeFigureOut">
              <a:rPr lang="en-US" smtClean="0">
                <a:latin typeface="Arial" charset="0"/>
              </a:rPr>
              <a:pPr/>
              <a:t>9/25/2022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BA786-EB35-BA4C-A7F7-24740D3067F1}" type="slidenum">
              <a:rPr lang="en-US" smtClean="0">
                <a:latin typeface="Arial" charset="0"/>
              </a:rPr>
              <a:pPr/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9472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charset="0"/>
              </a:defRPr>
            </a:lvl1pPr>
          </a:lstStyle>
          <a:p>
            <a:fld id="{0C4595FF-6E7F-4C41-B8DF-4AE76FC1F075}" type="datetimeFigureOut">
              <a:rPr lang="en-US" smtClean="0"/>
              <a:pPr/>
              <a:t>9/2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charset="0"/>
              </a:defRPr>
            </a:lvl1pPr>
          </a:lstStyle>
          <a:p>
            <a:fld id="{5A6330BE-D91A-D240-B266-E5D5F99B4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3167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6E4775E2-C349-5D46-8B00-EEEC2FC3FD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600200" y="3108959"/>
            <a:ext cx="7086600" cy="914400"/>
          </a:xfrm>
        </p:spPr>
        <p:txBody>
          <a:bodyPr anchor="b" anchorCtr="0">
            <a:noAutofit/>
          </a:bodyPr>
          <a:lstStyle>
            <a:lvl1pPr>
              <a:defRPr sz="32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4114800"/>
            <a:ext cx="5029200" cy="731520"/>
          </a:xfr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27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1116000" anchor="t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40080"/>
            <a:ext cx="2286000" cy="54864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 sz="1000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9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</p:spTree>
    <p:extLst>
      <p:ext uri="{BB962C8B-B14F-4D97-AF65-F5344CB8AC3E}">
        <p14:creationId xmlns:p14="http://schemas.microsoft.com/office/powerpoint/2010/main" val="1808711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5720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326898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608076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26898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08076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1193407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371600"/>
            <a:ext cx="4023360" cy="310896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6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371600"/>
            <a:ext cx="402336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6260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246120" y="1371600"/>
            <a:ext cx="5440680" cy="310896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6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371600"/>
            <a:ext cx="260604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5140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1" name="Straight Connector 10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600200" y="1005839"/>
            <a:ext cx="7086600" cy="3104949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230188" indent="-230188">
              <a:spcBef>
                <a:spcPts val="600"/>
              </a:spcBef>
              <a:defRPr b="0" i="0" baseline="0">
                <a:latin typeface="+mn-lt"/>
                <a:ea typeface="Arial" charset="0"/>
                <a:cs typeface="Arial" charset="0"/>
              </a:defRPr>
            </a:lvl2pPr>
            <a:lvl3pPr marL="230188" indent="0">
              <a:spcBef>
                <a:spcPts val="600"/>
              </a:spcBef>
              <a:buNone/>
              <a:defRPr/>
            </a:lvl3pPr>
            <a:lvl4pPr marL="685800" indent="-230188">
              <a:spcBef>
                <a:spcPts val="600"/>
              </a:spcBef>
              <a:defRPr/>
            </a:lvl4pPr>
            <a:lvl5pPr marL="917575" indent="-231775"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“Quote goes here.”</a:t>
            </a:r>
          </a:p>
          <a:p>
            <a:pPr lvl="1"/>
            <a:r>
              <a:rPr lang="en-US" dirty="0"/>
              <a:t>Attribution, if needed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5E4D8C-596E-D644-8AA7-DBFA149284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715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42" name="Straight Connector 41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 bwMode="auto">
          <a:xfrm>
            <a:off x="1600200" y="3108960"/>
            <a:ext cx="7086600" cy="914400"/>
          </a:xfrm>
        </p:spPr>
        <p:txBody>
          <a:bodyPr anchor="b" anchorCtr="0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1600200" y="4114800"/>
            <a:ext cx="5029200" cy="7315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spc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</a:t>
            </a:r>
            <a:r>
              <a:rPr lang="en-US" dirty="0" err="1"/>
              <a:t>su</a:t>
            </a:r>
            <a:r>
              <a:rPr lang="en-US" dirty="0"/>
              <a:t>   </a:t>
            </a:r>
            <a:r>
              <a:rPr lang="en-US" dirty="0" err="1"/>
              <a:t>btitle</a:t>
            </a:r>
            <a:r>
              <a:rPr lang="en-US" dirty="0"/>
              <a:t>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6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EE6C8E6-00B0-984D-96B9-60F58388E2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215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5" name="Straight Connector 14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 bwMode="auto">
          <a:xfrm>
            <a:off x="1600200" y="1463040"/>
            <a:ext cx="7086600" cy="2102185"/>
          </a:xfrm>
        </p:spPr>
        <p:txBody>
          <a:bodyPr anchor="b" anchorCtr="0">
            <a:noAutofit/>
          </a:bodyPr>
          <a:lstStyle>
            <a:lvl1pPr>
              <a:defRPr sz="3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3657600"/>
            <a:ext cx="70866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3B6A24D-6BB8-474F-8F69-48CC49652D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57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24254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52009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 userDrawn="1"/>
        </p:nvSpPr>
        <p:spPr>
          <a:xfrm>
            <a:off x="1600200" y="3108960"/>
            <a:ext cx="7086600" cy="9149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b="1" i="0" spc="-100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3200" b="1" i="0" spc="-100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3200" b="1" i="0" spc="-100" dirty="0">
              <a:latin typeface="+mj-lt"/>
              <a:ea typeface="Arial Black" charset="0"/>
              <a:cs typeface="Arial Black" charset="0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38" name="Straight Connector 3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33F970-4F3C-A744-9D6D-B0FDBD4481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218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itle 1"/>
          <p:cNvSpPr txBox="1">
            <a:spLocks/>
          </p:cNvSpPr>
          <p:nvPr userDrawn="1"/>
        </p:nvSpPr>
        <p:spPr>
          <a:xfrm>
            <a:off x="1600200" y="1463040"/>
            <a:ext cx="7086600" cy="2103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b="1" i="0" spc="-100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3200" b="1" i="0" spc="-100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3200" b="1" i="0" spc="-100" dirty="0">
              <a:latin typeface="+mj-lt"/>
              <a:ea typeface="Arial Black" charset="0"/>
              <a:cs typeface="Arial Black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A1FF81-AC4A-5744-B23B-E24980FE4C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66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28" name="Straight Connector 2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600200" y="1463040"/>
            <a:ext cx="7086600" cy="2102185"/>
          </a:xfrm>
        </p:spPr>
        <p:txBody>
          <a:bodyPr anchor="b" anchorCtr="0">
            <a:no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3657600"/>
            <a:ext cx="70866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8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40080"/>
            <a:ext cx="2286000" cy="54864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 sz="1000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9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A5AF66-6AD0-0748-89FA-2E250B7071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985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1313" indent="-341313">
              <a:buSzPct val="100000"/>
              <a:buFont typeface="+mj-lt"/>
              <a:buAutoNum type="arabicPeriod"/>
              <a:tabLst>
                <a:tab pos="3998913" algn="r"/>
                <a:tab pos="8229600" algn="r"/>
              </a:tabLst>
              <a:defRPr baseline="0"/>
            </a:lvl1pPr>
            <a:lvl2pPr marL="574675" indent="-233363">
              <a:defRPr baseline="0"/>
            </a:lvl2pPr>
            <a:lvl3pPr marL="801688" indent="-227013">
              <a:defRPr baseline="0"/>
            </a:lvl3pPr>
            <a:lvl4pPr marL="1028700" indent="-227013">
              <a:defRPr baseline="0"/>
            </a:lvl4pPr>
            <a:lvl5pPr marL="1257300" indent="-228600">
              <a:defRPr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630759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SzPct val="100000"/>
              <a:buFont typeface="Wingdings" charset="2"/>
              <a:buChar char="§"/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783672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21138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371600"/>
            <a:ext cx="402336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9757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6898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5"/>
          </p:nvPr>
        </p:nvSpPr>
        <p:spPr>
          <a:xfrm>
            <a:off x="608076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08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2336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4663440" y="1371600"/>
            <a:ext cx="402336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66344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7383428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786467"/>
            <a:ext cx="822960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160520"/>
            <a:ext cx="822960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26620877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457200" y="1786467"/>
            <a:ext cx="402336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4663440" y="1786467"/>
            <a:ext cx="402336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66344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3623645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8692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4" progId="TCLayout.ActiveDocument.1">
                  <p:embed/>
                </p:oleObj>
              </mc:Choice>
              <mc:Fallback>
                <p:oleObj name="think-cell Slide" r:id="rId23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EE3BDE7-CD22-5C47-8AB5-1BB7AA03176B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457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457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57200" y="342900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57200" y="1371375"/>
            <a:ext cx="8229600" cy="3105375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459422" y="4781550"/>
            <a:ext cx="228600" cy="228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900" b="0" i="0" spc="0" baseline="0" smtClean="0">
                <a:solidFill>
                  <a:srgbClr val="7F7F7F"/>
                </a:solidFill>
                <a:latin typeface="+mn-lt"/>
              </a:defRPr>
            </a:lvl1pPr>
          </a:lstStyle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688022" y="4781550"/>
            <a:ext cx="3792538" cy="228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900" b="0" i="0" spc="0" baseline="0" dirty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1 fo rhola</a:t>
            </a:r>
          </a:p>
        </p:txBody>
      </p:sp>
    </p:spTree>
    <p:extLst>
      <p:ext uri="{BB962C8B-B14F-4D97-AF65-F5344CB8AC3E}">
        <p14:creationId xmlns:p14="http://schemas.microsoft.com/office/powerpoint/2010/main" val="1686022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4" r:id="rId2"/>
    <p:sldLayoutId id="2147483662" r:id="rId3"/>
    <p:sldLayoutId id="2147483650" r:id="rId4"/>
    <p:sldLayoutId id="2147483652" r:id="rId5"/>
    <p:sldLayoutId id="2147483676" r:id="rId6"/>
    <p:sldLayoutId id="2147483667" r:id="rId7"/>
    <p:sldLayoutId id="2147483663" r:id="rId8"/>
    <p:sldLayoutId id="2147483664" r:id="rId9"/>
    <p:sldLayoutId id="2147483665" r:id="rId10"/>
    <p:sldLayoutId id="2147483666" r:id="rId11"/>
    <p:sldLayoutId id="2147483680" r:id="rId12"/>
    <p:sldLayoutId id="2147483677" r:id="rId13"/>
    <p:sldLayoutId id="2147483651" r:id="rId14"/>
    <p:sldLayoutId id="2147483673" r:id="rId15"/>
    <p:sldLayoutId id="2147483670" r:id="rId16"/>
    <p:sldLayoutId id="2147483671" r:id="rId17"/>
    <p:sldLayoutId id="2147483669" r:id="rId18"/>
    <p:sldLayoutId id="214748366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spc="-100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228600" indent="-228600" algn="l" defTabSz="914400" rtl="0" eaLnBrk="1" latinLnBrk="0" hangingPunct="1">
        <a:spcBef>
          <a:spcPts val="900"/>
        </a:spcBef>
        <a:buClrTx/>
        <a:buSzPct val="100000"/>
        <a:buFont typeface="Wingdings" charset="2"/>
        <a:buChar char="§"/>
        <a:tabLst>
          <a:tab pos="3998913" algn="r"/>
          <a:tab pos="8229600" algn="r"/>
        </a:tabLst>
        <a:defRPr sz="18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5" Type="http://schemas.openxmlformats.org/officeDocument/2006/relationships/image" Target="../media/image13.png"/><Relationship Id="rId4" Type="http://schemas.openxmlformats.org/officeDocument/2006/relationships/image" Target="../media/image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5" Type="http://schemas.openxmlformats.org/officeDocument/2006/relationships/image" Target="../media/image14.png"/><Relationship Id="rId4" Type="http://schemas.openxmlformats.org/officeDocument/2006/relationships/image" Target="../media/image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4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6.jpe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7147E9-230E-427B-8451-41DB7851E5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71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7147E9-230E-427B-8451-41DB7851E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2800" dirty="0"/>
              <a:t>Columbia Capstone Project: Lifecycle</a:t>
            </a:r>
          </a:p>
        </p:txBody>
      </p:sp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79" b="28479"/>
          <a:stretch>
            <a:fillRect/>
          </a:stretch>
        </p:blipFill>
        <p:spPr/>
      </p:pic>
      <p:sp>
        <p:nvSpPr>
          <p:cNvPr id="6" name="Subtitle 5">
            <a:extLst>
              <a:ext uri="{FF2B5EF4-FFF2-40B4-BE49-F238E27FC236}">
                <a16:creationId xmlns:a16="http://schemas.microsoft.com/office/drawing/2014/main" id="{0F02EB36-0137-47B7-BEF3-A0917BFD6A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6</a:t>
            </a:r>
            <a:r>
              <a:rPr lang="en-US" baseline="30000" dirty="0"/>
              <a:t>th</a:t>
            </a:r>
            <a:r>
              <a:rPr lang="en-US" dirty="0"/>
              <a:t> Sep 202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9439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28E60D-21DB-47F4-93A4-B0C0CCF961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425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28E60D-21DB-47F4-93A4-B0C0CCF961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ECAA2F-39EF-405D-81EA-89E71F7061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5632707" y="4207012"/>
            <a:ext cx="3528392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06" y="182141"/>
            <a:ext cx="8542188" cy="960919"/>
          </a:xfrm>
        </p:spPr>
        <p:txBody>
          <a:bodyPr>
            <a:normAutofit/>
          </a:bodyPr>
          <a:lstStyle/>
          <a:p>
            <a:r>
              <a:rPr lang="en-US" sz="2400" dirty="0"/>
              <a:t>Information Provided in Dataset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21295" y="1449897"/>
            <a:ext cx="1889971" cy="28106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Volum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921294" y="1768995"/>
            <a:ext cx="1889971" cy="34836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mpetitors Dat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921294" y="2149057"/>
            <a:ext cx="1889971" cy="301941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Launch Dat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921294" y="2494460"/>
            <a:ext cx="1889971" cy="652914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Indication Date</a:t>
            </a:r>
          </a:p>
        </p:txBody>
      </p:sp>
      <p:sp>
        <p:nvSpPr>
          <p:cNvPr id="47" name="Rectangle 46"/>
          <p:cNvSpPr/>
          <p:nvPr/>
        </p:nvSpPr>
        <p:spPr>
          <a:xfrm>
            <a:off x="921294" y="3194594"/>
            <a:ext cx="1889971" cy="27201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opul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7E04E49-89AB-478A-8B63-57B702814E6A}"/>
              </a:ext>
            </a:extLst>
          </p:cNvPr>
          <p:cNvSpPr txBox="1"/>
          <p:nvPr/>
        </p:nvSpPr>
        <p:spPr>
          <a:xfrm>
            <a:off x="886540" y="1091302"/>
            <a:ext cx="259228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Information</a:t>
            </a:r>
          </a:p>
          <a:p>
            <a:endParaRPr lang="en-US" sz="1200" b="1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432D885-0FAA-45C7-96B9-EC628A71BF4B}"/>
              </a:ext>
            </a:extLst>
          </p:cNvPr>
          <p:cNvCxnSpPr>
            <a:cxnSpLocks/>
          </p:cNvCxnSpPr>
          <p:nvPr/>
        </p:nvCxnSpPr>
        <p:spPr>
          <a:xfrm flipH="1">
            <a:off x="936182" y="1376481"/>
            <a:ext cx="2049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B765963-9207-4610-8110-87CE3F816D2F}"/>
              </a:ext>
            </a:extLst>
          </p:cNvPr>
          <p:cNvSpPr txBox="1"/>
          <p:nvPr/>
        </p:nvSpPr>
        <p:spPr>
          <a:xfrm>
            <a:off x="3144878" y="1105333"/>
            <a:ext cx="259228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Explanation</a:t>
            </a:r>
          </a:p>
          <a:p>
            <a:endParaRPr lang="en-US" sz="1200" b="1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D713F28-7208-480C-8D37-A6153E004962}"/>
              </a:ext>
            </a:extLst>
          </p:cNvPr>
          <p:cNvCxnSpPr>
            <a:cxnSpLocks/>
          </p:cNvCxnSpPr>
          <p:nvPr/>
        </p:nvCxnSpPr>
        <p:spPr>
          <a:xfrm flipH="1">
            <a:off x="3233598" y="1376481"/>
            <a:ext cx="409314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2659C11-EAD7-4265-B04B-C1529CE6242C}"/>
              </a:ext>
            </a:extLst>
          </p:cNvPr>
          <p:cNvSpPr txBox="1"/>
          <p:nvPr/>
        </p:nvSpPr>
        <p:spPr>
          <a:xfrm>
            <a:off x="3219359" y="1727624"/>
            <a:ext cx="35283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/>
              <a:t>·Entry date of a competitors in the market (one country-drug can have multiple competitors)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85AC8F6-56B6-4DBF-ABEB-8C1FC8706DE4}"/>
              </a:ext>
            </a:extLst>
          </p:cNvPr>
          <p:cNvSpPr txBox="1"/>
          <p:nvPr/>
        </p:nvSpPr>
        <p:spPr>
          <a:xfrm>
            <a:off x="3204905" y="2123260"/>
            <a:ext cx="37444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/>
              <a:t>·Date when the brand was launched in the market. Approval timelines are different in each region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EB54EDA-BD8F-42A1-A295-FD876CC76116}"/>
              </a:ext>
            </a:extLst>
          </p:cNvPr>
          <p:cNvSpPr txBox="1"/>
          <p:nvPr/>
        </p:nvSpPr>
        <p:spPr>
          <a:xfrm>
            <a:off x="3233598" y="2476611"/>
            <a:ext cx="3904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/>
              <a:t>·Date of entry of an indication. An indication reflects a therapeutic use of a drug. </a:t>
            </a:r>
            <a:r>
              <a:rPr lang="en-US" sz="1000" i="1" dirty="0"/>
              <a:t>E.g. a drug with two indications will be useful for treating two diseases or two conditions of a same diseas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EAEA40B-BAD3-447B-8B01-B943FD834CD6}"/>
              </a:ext>
            </a:extLst>
          </p:cNvPr>
          <p:cNvSpPr txBox="1"/>
          <p:nvPr/>
        </p:nvSpPr>
        <p:spPr>
          <a:xfrm>
            <a:off x="3233598" y="3220540"/>
            <a:ext cx="30889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Population for each country and yea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598D1FC-63C0-4723-B3A0-FB726724C1CE}"/>
              </a:ext>
            </a:extLst>
          </p:cNvPr>
          <p:cNvSpPr/>
          <p:nvPr/>
        </p:nvSpPr>
        <p:spPr>
          <a:xfrm>
            <a:off x="918032" y="3544342"/>
            <a:ext cx="1889971" cy="384360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revalenc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F3EA73D-54E8-4DEE-8557-8E6974F87177}"/>
              </a:ext>
            </a:extLst>
          </p:cNvPr>
          <p:cNvSpPr txBox="1"/>
          <p:nvPr/>
        </p:nvSpPr>
        <p:spPr>
          <a:xfrm>
            <a:off x="3199765" y="1472056"/>
            <a:ext cx="35283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Number of monthly units sold per drug in each country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A283BEA-C676-4366-85BC-0230A1F13082}"/>
              </a:ext>
            </a:extLst>
          </p:cNvPr>
          <p:cNvSpPr txBox="1"/>
          <p:nvPr/>
        </p:nvSpPr>
        <p:spPr>
          <a:xfrm>
            <a:off x="3236406" y="3555904"/>
            <a:ext cx="4032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Ratio resulting from the number of patients going through hospital divided by the populatio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650E266-A8FA-4F9F-9355-FD5801447F21}"/>
              </a:ext>
            </a:extLst>
          </p:cNvPr>
          <p:cNvSpPr/>
          <p:nvPr/>
        </p:nvSpPr>
        <p:spPr>
          <a:xfrm>
            <a:off x="936479" y="3990741"/>
            <a:ext cx="1889971" cy="28249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age Na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2CDC7B-4D1A-47A3-A22E-EB4E921679B9}"/>
              </a:ext>
            </a:extLst>
          </p:cNvPr>
          <p:cNvSpPr/>
          <p:nvPr/>
        </p:nvSpPr>
        <p:spPr>
          <a:xfrm>
            <a:off x="5645072" y="4582791"/>
            <a:ext cx="3528392" cy="5057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4084253-1F79-4FC4-A16A-AB73804E5FF9}"/>
              </a:ext>
            </a:extLst>
          </p:cNvPr>
          <p:cNvSpPr txBox="1"/>
          <p:nvPr/>
        </p:nvSpPr>
        <p:spPr>
          <a:xfrm>
            <a:off x="3275856" y="4362280"/>
            <a:ext cx="41210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Numeric value representing the area of action of each drug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42CB2F-DC04-43E3-B368-04A241FB4BC8}"/>
              </a:ext>
            </a:extLst>
          </p:cNvPr>
          <p:cNvCxnSpPr>
            <a:cxnSpLocks/>
          </p:cNvCxnSpPr>
          <p:nvPr/>
        </p:nvCxnSpPr>
        <p:spPr>
          <a:xfrm flipV="1">
            <a:off x="919230" y="1712532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184AA35-AFBB-4006-ADCA-D53FC97542AE}"/>
              </a:ext>
            </a:extLst>
          </p:cNvPr>
          <p:cNvCxnSpPr>
            <a:cxnSpLocks/>
          </p:cNvCxnSpPr>
          <p:nvPr/>
        </p:nvCxnSpPr>
        <p:spPr>
          <a:xfrm flipV="1">
            <a:off x="921294" y="2125258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AC385B4-7620-40E3-99A5-2A293B87AF69}"/>
              </a:ext>
            </a:extLst>
          </p:cNvPr>
          <p:cNvCxnSpPr>
            <a:cxnSpLocks/>
          </p:cNvCxnSpPr>
          <p:nvPr/>
        </p:nvCxnSpPr>
        <p:spPr>
          <a:xfrm flipV="1">
            <a:off x="919230" y="2466389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C3AE69-E826-470D-ADFC-4147E9F1D997}"/>
              </a:ext>
            </a:extLst>
          </p:cNvPr>
          <p:cNvCxnSpPr>
            <a:cxnSpLocks/>
          </p:cNvCxnSpPr>
          <p:nvPr/>
        </p:nvCxnSpPr>
        <p:spPr>
          <a:xfrm flipV="1">
            <a:off x="941621" y="3164007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520C62E-AC4E-4C2A-934B-3674A9FC7ACB}"/>
              </a:ext>
            </a:extLst>
          </p:cNvPr>
          <p:cNvCxnSpPr>
            <a:cxnSpLocks/>
          </p:cNvCxnSpPr>
          <p:nvPr/>
        </p:nvCxnSpPr>
        <p:spPr>
          <a:xfrm flipV="1">
            <a:off x="928602" y="3500569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375420B-48D8-420F-9FF1-37752DD32652}"/>
              </a:ext>
            </a:extLst>
          </p:cNvPr>
          <p:cNvCxnSpPr>
            <a:cxnSpLocks/>
          </p:cNvCxnSpPr>
          <p:nvPr/>
        </p:nvCxnSpPr>
        <p:spPr>
          <a:xfrm flipV="1">
            <a:off x="931997" y="3947139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0EFD10E3-DC44-41AA-A05B-E3AFBA710D71}"/>
              </a:ext>
            </a:extLst>
          </p:cNvPr>
          <p:cNvSpPr/>
          <p:nvPr/>
        </p:nvSpPr>
        <p:spPr>
          <a:xfrm>
            <a:off x="945905" y="4342189"/>
            <a:ext cx="1889971" cy="266136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herapeutic Area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B877120-2C81-44A9-891D-B156F1D8233B}"/>
              </a:ext>
            </a:extLst>
          </p:cNvPr>
          <p:cNvCxnSpPr>
            <a:cxnSpLocks/>
          </p:cNvCxnSpPr>
          <p:nvPr/>
        </p:nvCxnSpPr>
        <p:spPr>
          <a:xfrm flipV="1">
            <a:off x="948064" y="4304099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A921E7E-4C0E-4BA4-8472-20C9DE4A20F2}"/>
              </a:ext>
            </a:extLst>
          </p:cNvPr>
          <p:cNvCxnSpPr>
            <a:cxnSpLocks/>
          </p:cNvCxnSpPr>
          <p:nvPr/>
        </p:nvCxnSpPr>
        <p:spPr>
          <a:xfrm flipH="1">
            <a:off x="946751" y="4651786"/>
            <a:ext cx="63905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804461C1-3DA3-479F-83C4-2623A5A3E506}"/>
              </a:ext>
            </a:extLst>
          </p:cNvPr>
          <p:cNvSpPr txBox="1"/>
          <p:nvPr/>
        </p:nvSpPr>
        <p:spPr>
          <a:xfrm>
            <a:off x="3245427" y="3952700"/>
            <a:ext cx="4032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Identified stages and respective category. Can be Growth, Maturity or Decline.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AE2CFBE-FB8D-42EC-B671-0398D9766EC3}"/>
              </a:ext>
            </a:extLst>
          </p:cNvPr>
          <p:cNvSpPr/>
          <p:nvPr/>
        </p:nvSpPr>
        <p:spPr>
          <a:xfrm>
            <a:off x="300024" y="498947"/>
            <a:ext cx="8280920" cy="6566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Date of start forecast: </a:t>
            </a:r>
            <a:r>
              <a:rPr lang="en-US" sz="1400" dirty="0">
                <a:solidFill>
                  <a:schemeClr val="tx1"/>
                </a:solidFill>
              </a:rPr>
              <a:t>2019-04-01           </a:t>
            </a:r>
            <a:r>
              <a:rPr lang="en-US" sz="1400" b="1" dirty="0">
                <a:solidFill>
                  <a:schemeClr val="tx1"/>
                </a:solidFill>
              </a:rPr>
              <a:t>Target variable: </a:t>
            </a:r>
            <a:r>
              <a:rPr lang="en-US" sz="1400" dirty="0">
                <a:solidFill>
                  <a:schemeClr val="tx1"/>
                </a:solidFill>
              </a:rPr>
              <a:t>Volume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Date of end forecast: </a:t>
            </a:r>
            <a:r>
              <a:rPr lang="en-US" sz="1400" dirty="0">
                <a:solidFill>
                  <a:schemeClr val="tx1"/>
                </a:solidFill>
              </a:rPr>
              <a:t>2022-04-01</a:t>
            </a:r>
          </a:p>
        </p:txBody>
      </p:sp>
    </p:spTree>
    <p:extLst>
      <p:ext uri="{BB962C8B-B14F-4D97-AF65-F5344CB8AC3E}">
        <p14:creationId xmlns:p14="http://schemas.microsoft.com/office/powerpoint/2010/main" val="30824346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6"/>
          <a:srcRect l="10087" t="12797"/>
          <a:stretch/>
        </p:blipFill>
        <p:spPr>
          <a:xfrm>
            <a:off x="274182" y="2286942"/>
            <a:ext cx="4209962" cy="2367448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5580112" y="4498334"/>
            <a:ext cx="3384376" cy="449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: Tasks</a:t>
            </a:r>
            <a:endParaRPr lang="en-US" sz="2400" dirty="0"/>
          </a:p>
        </p:txBody>
      </p:sp>
      <p:sp>
        <p:nvSpPr>
          <p:cNvPr id="9" name="Rectangle 8"/>
          <p:cNvSpPr/>
          <p:nvPr/>
        </p:nvSpPr>
        <p:spPr>
          <a:xfrm>
            <a:off x="4499992" y="984175"/>
            <a:ext cx="446449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Part 2: Predict stabilization upon transi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2774" y="984175"/>
            <a:ext cx="385486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Part 1: Predict transition moment </a:t>
            </a:r>
          </a:p>
        </p:txBody>
      </p:sp>
      <p:sp>
        <p:nvSpPr>
          <p:cNvPr id="4" name="Rectangle 3"/>
          <p:cNvSpPr/>
          <p:nvPr/>
        </p:nvSpPr>
        <p:spPr>
          <a:xfrm>
            <a:off x="496840" y="1555327"/>
            <a:ext cx="3854862" cy="45686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edicts in time when a transition happens. It could be there is no transition happening.</a:t>
            </a:r>
            <a:endParaRPr lang="en-US" sz="1200" dirty="0"/>
          </a:p>
        </p:txBody>
      </p:sp>
      <p:sp>
        <p:nvSpPr>
          <p:cNvPr id="14" name="Rectangle 13"/>
          <p:cNvSpPr/>
          <p:nvPr/>
        </p:nvSpPr>
        <p:spPr>
          <a:xfrm>
            <a:off x="4644008" y="1542879"/>
            <a:ext cx="4108308" cy="45686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Adjusts forecast based on the expected transition point in time from step 1</a:t>
            </a:r>
            <a:endParaRPr lang="en-US" sz="1200" dirty="0"/>
          </a:p>
        </p:txBody>
      </p:sp>
      <p:sp>
        <p:nvSpPr>
          <p:cNvPr id="6" name="Multiply 5"/>
          <p:cNvSpPr/>
          <p:nvPr/>
        </p:nvSpPr>
        <p:spPr>
          <a:xfrm>
            <a:off x="3419872" y="2824366"/>
            <a:ext cx="228818" cy="240582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57CB05-B7AF-4921-8BAE-7F72538113E6}"/>
              </a:ext>
            </a:extLst>
          </p:cNvPr>
          <p:cNvGrpSpPr/>
          <p:nvPr/>
        </p:nvGrpSpPr>
        <p:grpSpPr>
          <a:xfrm>
            <a:off x="4654442" y="2206292"/>
            <a:ext cx="4464496" cy="2516882"/>
            <a:chOff x="4824459" y="2600704"/>
            <a:chExt cx="3384376" cy="1900264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 rotWithShape="1">
            <a:blip r:embed="rId7"/>
            <a:srcRect l="9616" t="9646" r="-1"/>
            <a:stretch/>
          </p:blipFill>
          <p:spPr>
            <a:xfrm>
              <a:off x="4824459" y="2600704"/>
              <a:ext cx="3384376" cy="1900264"/>
            </a:xfrm>
            <a:prstGeom prst="rect">
              <a:avLst/>
            </a:prstGeom>
          </p:spPr>
        </p:pic>
        <p:sp>
          <p:nvSpPr>
            <p:cNvPr id="25" name="Multiply 24"/>
            <p:cNvSpPr/>
            <p:nvPr/>
          </p:nvSpPr>
          <p:spPr>
            <a:xfrm>
              <a:off x="7176408" y="3093902"/>
              <a:ext cx="216024" cy="216024"/>
            </a:xfrm>
            <a:prstGeom prst="mathMultiply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3D9966C-80C1-432D-9949-CBB2CF6BAE72}"/>
              </a:ext>
            </a:extLst>
          </p:cNvPr>
          <p:cNvCxnSpPr>
            <a:cxnSpLocks/>
          </p:cNvCxnSpPr>
          <p:nvPr/>
        </p:nvCxnSpPr>
        <p:spPr>
          <a:xfrm flipV="1">
            <a:off x="7668344" y="2715766"/>
            <a:ext cx="1152128" cy="326886"/>
          </a:xfrm>
          <a:prstGeom prst="line">
            <a:avLst/>
          </a:prstGeom>
          <a:ln>
            <a:solidFill>
              <a:srgbClr val="92D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8E3DB18-2BB2-4632-B195-11F473F4FBA2}"/>
              </a:ext>
            </a:extLst>
          </p:cNvPr>
          <p:cNvSpPr txBox="1"/>
          <p:nvPr/>
        </p:nvSpPr>
        <p:spPr>
          <a:xfrm>
            <a:off x="7695728" y="2625684"/>
            <a:ext cx="8306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Benchmark</a:t>
            </a:r>
            <a:endParaRPr 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7FD245B-E14D-49CB-9947-A3B105E82CF2}"/>
              </a:ext>
            </a:extLst>
          </p:cNvPr>
          <p:cNvSpPr txBox="1"/>
          <p:nvPr/>
        </p:nvSpPr>
        <p:spPr>
          <a:xfrm>
            <a:off x="7942172" y="3054894"/>
            <a:ext cx="11817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Stabilized Benchmark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129399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Steps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8179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84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AD6FA87-5538-40AF-9DA2-BDD10DD2A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919"/>
          </a:xfrm>
        </p:spPr>
        <p:txBody>
          <a:bodyPr vert="horz"/>
          <a:lstStyle/>
          <a:p>
            <a:r>
              <a:rPr lang="en-US" dirty="0"/>
              <a:t>Usual workflow of a ML project</a:t>
            </a:r>
            <a:endParaRPr lang="en-US" sz="2400" dirty="0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C0913D2E-3DAF-4226-9BC6-B1CCC62A28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936215"/>
            <a:ext cx="7919864" cy="3271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8E16727-1654-4190-A71A-39F4D9B7A56F}"/>
              </a:ext>
            </a:extLst>
          </p:cNvPr>
          <p:cNvSpPr txBox="1"/>
          <p:nvPr/>
        </p:nvSpPr>
        <p:spPr>
          <a:xfrm>
            <a:off x="442740" y="3435846"/>
            <a:ext cx="180530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Load data</a:t>
            </a:r>
          </a:p>
          <a:p>
            <a:r>
              <a:rPr lang="en-US" sz="1400" dirty="0"/>
              <a:t>Data pre-processing</a:t>
            </a:r>
          </a:p>
          <a:p>
            <a:r>
              <a:rPr lang="en-US" sz="1400" dirty="0"/>
              <a:t>Feature Engineer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924ED5A-3F9A-434D-AD8A-8503B55C77D9}"/>
              </a:ext>
            </a:extLst>
          </p:cNvPr>
          <p:cNvSpPr txBox="1"/>
          <p:nvPr/>
        </p:nvSpPr>
        <p:spPr>
          <a:xfrm>
            <a:off x="2051720" y="1984267"/>
            <a:ext cx="1331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rain/Test spli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282C1B-C037-4FD2-8A4A-5E2FD0720925}"/>
              </a:ext>
            </a:extLst>
          </p:cNvPr>
          <p:cNvSpPr txBox="1"/>
          <p:nvPr/>
        </p:nvSpPr>
        <p:spPr>
          <a:xfrm>
            <a:off x="3635896" y="4201126"/>
            <a:ext cx="31582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rain algorithm on training data</a:t>
            </a:r>
          </a:p>
          <a:p>
            <a:r>
              <a:rPr lang="en-US" sz="1400" dirty="0"/>
              <a:t>Evaluate performance on testing 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9C3B4A6-C6B3-4F7E-9113-C5184A08166B}"/>
              </a:ext>
            </a:extLst>
          </p:cNvPr>
          <p:cNvSpPr txBox="1"/>
          <p:nvPr/>
        </p:nvSpPr>
        <p:spPr>
          <a:xfrm>
            <a:off x="7055769" y="4181974"/>
            <a:ext cx="20882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eploy model in production environm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8341B51-7BD8-48EE-9306-9AB8BEB86EE8}"/>
              </a:ext>
            </a:extLst>
          </p:cNvPr>
          <p:cNvSpPr txBox="1"/>
          <p:nvPr/>
        </p:nvSpPr>
        <p:spPr>
          <a:xfrm>
            <a:off x="0" y="4705194"/>
            <a:ext cx="472578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 dirty="0"/>
              <a:t>Reference: https://towardsdatascience.com/workflow-of-a-machine-learning-project-ec1dba419b94</a:t>
            </a:r>
          </a:p>
        </p:txBody>
      </p:sp>
    </p:spTree>
    <p:extLst>
      <p:ext uri="{BB962C8B-B14F-4D97-AF65-F5344CB8AC3E}">
        <p14:creationId xmlns:p14="http://schemas.microsoft.com/office/powerpoint/2010/main" val="40078215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AD6FA87-5538-40AF-9DA2-BDD10DD2A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919"/>
          </a:xfrm>
        </p:spPr>
        <p:txBody>
          <a:bodyPr vert="horz"/>
          <a:lstStyle/>
          <a:p>
            <a:r>
              <a:rPr lang="en-US" dirty="0"/>
              <a:t>Steps</a:t>
            </a:r>
            <a:endParaRPr lang="en-US" sz="2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C46F2D-4CA5-4B08-9BC0-3B3999CB4A06}"/>
              </a:ext>
            </a:extLst>
          </p:cNvPr>
          <p:cNvSpPr txBox="1"/>
          <p:nvPr/>
        </p:nvSpPr>
        <p:spPr>
          <a:xfrm>
            <a:off x="412776" y="918800"/>
            <a:ext cx="52886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· Exploratory Data Analysis (EDA) of the datasets.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DBB6627-6384-4151-A7B5-CAE823D62B30}"/>
              </a:ext>
            </a:extLst>
          </p:cNvPr>
          <p:cNvSpPr/>
          <p:nvPr/>
        </p:nvSpPr>
        <p:spPr>
          <a:xfrm>
            <a:off x="770758" y="1297762"/>
            <a:ext cx="7416824" cy="531685"/>
          </a:xfrm>
          <a:prstGeom prst="round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D09777-DFEB-4F81-8C6D-3DB50DA196AB}"/>
              </a:ext>
            </a:extLst>
          </p:cNvPr>
          <p:cNvSpPr txBox="1"/>
          <p:nvPr/>
        </p:nvSpPr>
        <p:spPr>
          <a:xfrm>
            <a:off x="871901" y="1273808"/>
            <a:ext cx="73436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analyse</a:t>
            </a:r>
            <a:r>
              <a:rPr lang="en-US" sz="1400" dirty="0"/>
              <a:t> datasets, merge them into a master </a:t>
            </a:r>
            <a:r>
              <a:rPr lang="en-US" sz="1400" dirty="0" err="1"/>
              <a:t>dataframe</a:t>
            </a:r>
            <a:r>
              <a:rPr lang="en-US" sz="1400" dirty="0"/>
              <a:t>, get familiar with the target variable,</a:t>
            </a:r>
          </a:p>
          <a:p>
            <a:r>
              <a:rPr lang="en-US" sz="1400" dirty="0"/>
              <a:t>features’ distribution,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027CD6B-0D74-4FD5-8BB7-A0A52D3C9F25}"/>
              </a:ext>
            </a:extLst>
          </p:cNvPr>
          <p:cNvSpPr txBox="1"/>
          <p:nvPr/>
        </p:nvSpPr>
        <p:spPr>
          <a:xfrm>
            <a:off x="424029" y="1833595"/>
            <a:ext cx="4673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· Data pre-processing &amp; feature engineering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097848D-090A-4EED-BAD7-4214409E2B92}"/>
              </a:ext>
            </a:extLst>
          </p:cNvPr>
          <p:cNvSpPr/>
          <p:nvPr/>
        </p:nvSpPr>
        <p:spPr>
          <a:xfrm>
            <a:off x="775997" y="2252451"/>
            <a:ext cx="7416824" cy="519555"/>
          </a:xfrm>
          <a:prstGeom prst="round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316A194-CE65-4A49-ADF7-4A6CA81D3516}"/>
              </a:ext>
            </a:extLst>
          </p:cNvPr>
          <p:cNvSpPr txBox="1"/>
          <p:nvPr/>
        </p:nvSpPr>
        <p:spPr>
          <a:xfrm>
            <a:off x="755576" y="2272486"/>
            <a:ext cx="72555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tegrate date-related variables, cleaning of </a:t>
            </a:r>
            <a:r>
              <a:rPr lang="en-US" sz="1400" dirty="0" err="1"/>
              <a:t>missings</a:t>
            </a:r>
            <a:r>
              <a:rPr lang="en-US" sz="1400" dirty="0"/>
              <a:t>, outlier detection, one-hot encoding,</a:t>
            </a:r>
          </a:p>
          <a:p>
            <a:r>
              <a:rPr lang="en-US" sz="1400" dirty="0"/>
              <a:t>create benchmark forecasts, </a:t>
            </a:r>
            <a:endParaRPr lang="en-US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77B7A5A-5C88-4912-B338-C5EB023E0C98}"/>
              </a:ext>
            </a:extLst>
          </p:cNvPr>
          <p:cNvSpPr/>
          <p:nvPr/>
        </p:nvSpPr>
        <p:spPr>
          <a:xfrm>
            <a:off x="755576" y="3329071"/>
            <a:ext cx="7416824" cy="402362"/>
          </a:xfrm>
          <a:prstGeom prst="round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408E987-EB9E-4AD9-B398-6F7D4DB74C7F}"/>
              </a:ext>
            </a:extLst>
          </p:cNvPr>
          <p:cNvSpPr txBox="1"/>
          <p:nvPr/>
        </p:nvSpPr>
        <p:spPr>
          <a:xfrm>
            <a:off x="338710" y="2934202"/>
            <a:ext cx="42114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· Training algorithm &amp; metrics collec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40B2489-6C7C-4671-B047-DD9AD3C40C4E}"/>
              </a:ext>
            </a:extLst>
          </p:cNvPr>
          <p:cNvSpPr txBox="1"/>
          <p:nvPr/>
        </p:nvSpPr>
        <p:spPr>
          <a:xfrm>
            <a:off x="770758" y="3364079"/>
            <a:ext cx="74430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rain-test split, hyperparameter tuning, cross-validation, compute error metrics, final training </a:t>
            </a: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28D3886-708E-4AC5-A7E3-49CAE82C41EC}"/>
              </a:ext>
            </a:extLst>
          </p:cNvPr>
          <p:cNvSpPr txBox="1"/>
          <p:nvPr/>
        </p:nvSpPr>
        <p:spPr>
          <a:xfrm>
            <a:off x="400374" y="3931179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· Store mod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1A48A52-42AC-4B03-86AA-5B46288680B8}"/>
              </a:ext>
            </a:extLst>
          </p:cNvPr>
          <p:cNvSpPr txBox="1"/>
          <p:nvPr/>
        </p:nvSpPr>
        <p:spPr>
          <a:xfrm>
            <a:off x="755576" y="4278378"/>
            <a:ext cx="53751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tore model as a pickle (serialized) or any other supported format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DAF9AA-1E09-4B3A-95F4-9402B2BA4797}"/>
              </a:ext>
            </a:extLst>
          </p:cNvPr>
          <p:cNvSpPr/>
          <p:nvPr/>
        </p:nvSpPr>
        <p:spPr>
          <a:xfrm>
            <a:off x="5477287" y="4571707"/>
            <a:ext cx="3482310" cy="2586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0947BDD5-9170-44C0-90CE-B671A336171D}"/>
              </a:ext>
            </a:extLst>
          </p:cNvPr>
          <p:cNvSpPr/>
          <p:nvPr/>
        </p:nvSpPr>
        <p:spPr>
          <a:xfrm>
            <a:off x="770758" y="4300511"/>
            <a:ext cx="7416824" cy="321274"/>
          </a:xfrm>
          <a:prstGeom prst="round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640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Metrics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80658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B314F2A-B0F3-48AD-9A1E-79090C21F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20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B314F2A-B0F3-48AD-9A1E-79090C21F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5602B11B-AB7A-4CE6-B00D-81C9360A9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r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DBB414-73F5-4515-AA6F-5BA3BD5B3F25}"/>
              </a:ext>
            </a:extLst>
          </p:cNvPr>
          <p:cNvSpPr txBox="1"/>
          <p:nvPr/>
        </p:nvSpPr>
        <p:spPr>
          <a:xfrm>
            <a:off x="457200" y="840644"/>
            <a:ext cx="2103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ASSIFIC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A3E856-B086-480F-AB38-F1CB7E7F6F7E}"/>
              </a:ext>
            </a:extLst>
          </p:cNvPr>
          <p:cNvSpPr/>
          <p:nvPr/>
        </p:nvSpPr>
        <p:spPr>
          <a:xfrm>
            <a:off x="5004048" y="3529875"/>
            <a:ext cx="385486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just"/>
            <a:r>
              <a:rPr lang="en-US" sz="1100" i="1" dirty="0">
                <a:solidFill>
                  <a:schemeClr val="tx1"/>
                </a:solidFill>
              </a:rPr>
              <a:t>Fi = Predicted forecast point</a:t>
            </a:r>
          </a:p>
          <a:p>
            <a:pPr algn="just"/>
            <a:r>
              <a:rPr lang="en-US" sz="1100" i="1" dirty="0">
                <a:solidFill>
                  <a:schemeClr val="tx1"/>
                </a:solidFill>
              </a:rPr>
              <a:t>Ai = Real point</a:t>
            </a:r>
          </a:p>
        </p:txBody>
      </p:sp>
      <p:pic>
        <p:nvPicPr>
          <p:cNvPr id="14340" name="Picture 4" descr="Classification performance metrics based on the confusion matrix. |  Download Table">
            <a:extLst>
              <a:ext uri="{FF2B5EF4-FFF2-40B4-BE49-F238E27FC236}">
                <a16:creationId xmlns:a16="http://schemas.microsoft.com/office/drawing/2014/main" id="{C009D867-F3FC-4751-B6E1-BA6D9DF9D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303020"/>
            <a:ext cx="7288485" cy="3232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FB34182-449C-41DF-A1E2-56DD137385EB}"/>
              </a:ext>
            </a:extLst>
          </p:cNvPr>
          <p:cNvSpPr txBox="1"/>
          <p:nvPr/>
        </p:nvSpPr>
        <p:spPr>
          <a:xfrm>
            <a:off x="107504" y="4633554"/>
            <a:ext cx="532859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 dirty="0"/>
              <a:t>Source: https://medium.com/@MohammedS/performance-metrics-for-classification-problems-in-machine-learning-part-i-b085d432082b</a:t>
            </a:r>
          </a:p>
        </p:txBody>
      </p:sp>
    </p:spTree>
    <p:extLst>
      <p:ext uri="{BB962C8B-B14F-4D97-AF65-F5344CB8AC3E}">
        <p14:creationId xmlns:p14="http://schemas.microsoft.com/office/powerpoint/2010/main" val="4580430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B314F2A-B0F3-48AD-9A1E-79090C21F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B314F2A-B0F3-48AD-9A1E-79090C21F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5602B11B-AB7A-4CE6-B00D-81C9360A9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r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DBB414-73F5-4515-AA6F-5BA3BD5B3F25}"/>
              </a:ext>
            </a:extLst>
          </p:cNvPr>
          <p:cNvSpPr txBox="1"/>
          <p:nvPr/>
        </p:nvSpPr>
        <p:spPr>
          <a:xfrm>
            <a:off x="457200" y="840644"/>
            <a:ext cx="1723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EGRESSION</a:t>
            </a:r>
          </a:p>
        </p:txBody>
      </p:sp>
      <p:pic>
        <p:nvPicPr>
          <p:cNvPr id="15362" name="Picture 2" descr="Performance Matrix for Regression Model | by Parag Jain | Medium">
            <a:extLst>
              <a:ext uri="{FF2B5EF4-FFF2-40B4-BE49-F238E27FC236}">
                <a16:creationId xmlns:a16="http://schemas.microsoft.com/office/drawing/2014/main" id="{30977469-E04F-434F-B40F-DE25F34DF3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77"/>
          <a:stretch/>
        </p:blipFill>
        <p:spPr bwMode="auto">
          <a:xfrm>
            <a:off x="1907704" y="1132912"/>
            <a:ext cx="5616624" cy="337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D72DA44-CD04-4205-BE5D-5F03DEA634D1}"/>
              </a:ext>
            </a:extLst>
          </p:cNvPr>
          <p:cNvSpPr txBox="1"/>
          <p:nvPr/>
        </p:nvSpPr>
        <p:spPr>
          <a:xfrm>
            <a:off x="107504" y="4633554"/>
            <a:ext cx="56166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 dirty="0"/>
              <a:t>Source: https://medium.com/@MohammedS/performance-metrics-for-classification-problems-in-machine-learning-part-i-b085d432082b</a:t>
            </a:r>
          </a:p>
        </p:txBody>
      </p:sp>
    </p:spTree>
    <p:extLst>
      <p:ext uri="{BB962C8B-B14F-4D97-AF65-F5344CB8AC3E}">
        <p14:creationId xmlns:p14="http://schemas.microsoft.com/office/powerpoint/2010/main" val="89085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B314F2A-B0F3-48AD-9A1E-79090C21F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429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B314F2A-B0F3-48AD-9A1E-79090C21F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53E6F29-92B5-41FD-940E-07ADFF801D84}"/>
                  </a:ext>
                </a:extLst>
              </p:cNvPr>
              <p:cNvSpPr txBox="1"/>
              <p:nvPr/>
            </p:nvSpPr>
            <p:spPr>
              <a:xfrm>
                <a:off x="353975" y="1229056"/>
                <a:ext cx="4176464" cy="11762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sz="2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sz="2800" b="1" i="1" smtClean="0">
                          <a:latin typeface="Cambria Math" panose="02040503050406030204" pitchFamily="18" charset="0"/>
                        </a:rPr>
                        <m:t>𝑴𝑨𝑷𝑬</m:t>
                      </m:r>
                      <m:r>
                        <a:rPr lang="es-ES" sz="28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8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ES" sz="2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s-ES" sz="28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sz="28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s-ES" sz="28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s-ES" sz="28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s-ES" sz="28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f>
                            <m:fPr>
                              <m:ctrlPr>
                                <a:rPr lang="en-US" sz="280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s-ES" sz="2800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es-ES" sz="2800" b="0" i="1" smtClean="0">
                                  <a:latin typeface="Cambria Math" panose="02040503050406030204" pitchFamily="18" charset="0"/>
                                </a:rPr>
                                <m:t>𝐹𝑖</m:t>
                              </m:r>
                              <m:r>
                                <a:rPr lang="es-ES" sz="2800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s-ES" sz="2800" b="0" i="1" smtClean="0">
                                  <a:latin typeface="Cambria Math" panose="02040503050406030204" pitchFamily="18" charset="0"/>
                                </a:rPr>
                                <m:t>𝐴𝑖</m:t>
                              </m:r>
                              <m:r>
                                <a:rPr lang="es-ES" sz="2800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num>
                            <m:den>
                              <m:r>
                                <a:rPr lang="es-ES" sz="2800" b="0" i="1" smtClean="0">
                                  <a:latin typeface="Cambria Math" panose="02040503050406030204" pitchFamily="18" charset="0"/>
                                </a:rPr>
                                <m:t>𝐴𝑖</m:t>
                              </m:r>
                            </m:den>
                          </m:f>
                        </m:e>
                      </m:nary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53E6F29-92B5-41FD-940E-07ADFF801D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3975" y="1229056"/>
                <a:ext cx="4176464" cy="117621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Rectangle 18">
            <a:extLst>
              <a:ext uri="{FF2B5EF4-FFF2-40B4-BE49-F238E27FC236}">
                <a16:creationId xmlns:a16="http://schemas.microsoft.com/office/drawing/2014/main" id="{AB25B62B-91DB-49FD-9EB0-925AEB9ED99C}"/>
              </a:ext>
            </a:extLst>
          </p:cNvPr>
          <p:cNvSpPr/>
          <p:nvPr/>
        </p:nvSpPr>
        <p:spPr>
          <a:xfrm>
            <a:off x="675577" y="2785020"/>
            <a:ext cx="385486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just"/>
            <a:r>
              <a:rPr lang="en-US" sz="1100" i="1" dirty="0">
                <a:solidFill>
                  <a:schemeClr val="tx1"/>
                </a:solidFill>
              </a:rPr>
              <a:t>Fi = Predicted forecast point</a:t>
            </a:r>
          </a:p>
          <a:p>
            <a:pPr algn="just"/>
            <a:r>
              <a:rPr lang="en-US" sz="1100" i="1" dirty="0">
                <a:solidFill>
                  <a:schemeClr val="tx1"/>
                </a:solidFill>
              </a:rPr>
              <a:t>Ai = Real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065D2B-327E-4596-AD20-256118A8A51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6140"/>
          <a:stretch/>
        </p:blipFill>
        <p:spPr>
          <a:xfrm>
            <a:off x="4283968" y="3326102"/>
            <a:ext cx="4162425" cy="76682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2CEEDCF-7618-4772-AE66-B27CB226090C}"/>
              </a:ext>
            </a:extLst>
          </p:cNvPr>
          <p:cNvSpPr txBox="1"/>
          <p:nvPr/>
        </p:nvSpPr>
        <p:spPr>
          <a:xfrm>
            <a:off x="5836830" y="2855479"/>
            <a:ext cx="8611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rror L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14B0E73-F66B-41B5-9F42-8D5C514CF66F}"/>
              </a:ext>
            </a:extLst>
          </p:cNvPr>
          <p:cNvSpPr txBox="1"/>
          <p:nvPr/>
        </p:nvSpPr>
        <p:spPr>
          <a:xfrm>
            <a:off x="7164288" y="2873889"/>
            <a:ext cx="15376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rror Benchmar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E27AF27-4787-4579-96D9-D1C53C829936}"/>
              </a:ext>
            </a:extLst>
          </p:cNvPr>
          <p:cNvSpPr txBox="1"/>
          <p:nvPr/>
        </p:nvSpPr>
        <p:spPr>
          <a:xfrm>
            <a:off x="4141433" y="2847155"/>
            <a:ext cx="14906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Year of Foreca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EFF3BD-5CED-4F14-98A1-2EAFC15EB799}"/>
              </a:ext>
            </a:extLst>
          </p:cNvPr>
          <p:cNvSpPr txBox="1"/>
          <p:nvPr/>
        </p:nvSpPr>
        <p:spPr>
          <a:xfrm rot="1906781">
            <a:off x="7936517" y="2364254"/>
            <a:ext cx="1120820" cy="369332"/>
          </a:xfrm>
          <a:prstGeom prst="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AMPL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5602B11B-AB7A-4CE6-B00D-81C9360A9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nal Evaluation Metric</a:t>
            </a:r>
          </a:p>
        </p:txBody>
      </p:sp>
    </p:spTree>
    <p:extLst>
      <p:ext uri="{BB962C8B-B14F-4D97-AF65-F5344CB8AC3E}">
        <p14:creationId xmlns:p14="http://schemas.microsoft.com/office/powerpoint/2010/main" val="407853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03648" y="1779662"/>
            <a:ext cx="4320480" cy="1152128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Thank you for your attention!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0380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3518"/>
            <a:ext cx="8229600" cy="960919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C31047-6247-440D-AB3C-496A9F4001AB}"/>
              </a:ext>
            </a:extLst>
          </p:cNvPr>
          <p:cNvSpPr txBox="1"/>
          <p:nvPr/>
        </p:nvSpPr>
        <p:spPr>
          <a:xfrm>
            <a:off x="1547664" y="2101665"/>
            <a:ext cx="46805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Introduction to the problem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Steps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Error metrics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6D62C73-9A0D-4E45-A9BD-CD71BD9F3684}"/>
              </a:ext>
            </a:extLst>
          </p:cNvPr>
          <p:cNvSpPr/>
          <p:nvPr/>
        </p:nvSpPr>
        <p:spPr>
          <a:xfrm>
            <a:off x="1070800" y="2101665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1</a:t>
            </a:r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4FD3BD4-564B-412F-9276-DDD39B1B397D}"/>
              </a:ext>
            </a:extLst>
          </p:cNvPr>
          <p:cNvSpPr/>
          <p:nvPr/>
        </p:nvSpPr>
        <p:spPr>
          <a:xfrm>
            <a:off x="1070800" y="2650916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2</a:t>
            </a:r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F49C1BD-C4F4-49F1-9CF4-C166D1936E89}"/>
              </a:ext>
            </a:extLst>
          </p:cNvPr>
          <p:cNvSpPr/>
          <p:nvPr/>
        </p:nvSpPr>
        <p:spPr>
          <a:xfrm>
            <a:off x="1070800" y="3200167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3</a:t>
            </a:r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D20363F-3FF1-42B1-B5CB-A1233343EEEC}"/>
              </a:ext>
            </a:extLst>
          </p:cNvPr>
          <p:cNvSpPr/>
          <p:nvPr/>
        </p:nvSpPr>
        <p:spPr>
          <a:xfrm>
            <a:off x="1077910" y="1552449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0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40DC2C-6F55-46C9-8393-AB0D68249C16}"/>
              </a:ext>
            </a:extLst>
          </p:cNvPr>
          <p:cNvSpPr txBox="1"/>
          <p:nvPr/>
        </p:nvSpPr>
        <p:spPr>
          <a:xfrm>
            <a:off x="1547664" y="1534021"/>
            <a:ext cx="46805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Team Presentatio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8910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Team Presenta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44810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4D34BB-D59D-4BB8-8EE2-6E53D85F0A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404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14D34BB-D59D-4BB8-8EE2-6E53D85F0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680159-E6AC-4FD3-BA49-4A2C2EF37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bout me</a:t>
            </a:r>
          </a:p>
        </p:txBody>
      </p:sp>
      <p:pic>
        <p:nvPicPr>
          <p:cNvPr id="11266" name="Picture 2" descr="profile image">
            <a:extLst>
              <a:ext uri="{FF2B5EF4-FFF2-40B4-BE49-F238E27FC236}">
                <a16:creationId xmlns:a16="http://schemas.microsoft.com/office/drawing/2014/main" id="{FB6C8B94-3930-4397-B80E-90FDD23A68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732" y="1529566"/>
            <a:ext cx="1728192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ounded Rectangle 51">
            <a:extLst>
              <a:ext uri="{FF2B5EF4-FFF2-40B4-BE49-F238E27FC236}">
                <a16:creationId xmlns:a16="http://schemas.microsoft.com/office/drawing/2014/main" id="{A71D4ABA-D048-4E7D-A9B8-FD9CFBF52908}"/>
              </a:ext>
            </a:extLst>
          </p:cNvPr>
          <p:cNvSpPr/>
          <p:nvPr/>
        </p:nvSpPr>
        <p:spPr>
          <a:xfrm>
            <a:off x="655716" y="3401774"/>
            <a:ext cx="2088232" cy="57606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Eric Matamoros</a:t>
            </a:r>
          </a:p>
          <a:p>
            <a:pPr algn="ctr"/>
            <a:r>
              <a:rPr lang="en-US" sz="1200" dirty="0">
                <a:solidFill>
                  <a:schemeClr val="accent1"/>
                </a:solidFill>
              </a:rPr>
              <a:t>Expert Data Scientist @Novartis</a:t>
            </a:r>
          </a:p>
        </p:txBody>
      </p:sp>
      <p:sp>
        <p:nvSpPr>
          <p:cNvPr id="9" name="Rounded Rectangle 51">
            <a:extLst>
              <a:ext uri="{FF2B5EF4-FFF2-40B4-BE49-F238E27FC236}">
                <a16:creationId xmlns:a16="http://schemas.microsoft.com/office/drawing/2014/main" id="{33FACD51-BE47-4450-9672-BBA3CBE88C91}"/>
              </a:ext>
            </a:extLst>
          </p:cNvPr>
          <p:cNvSpPr/>
          <p:nvPr/>
        </p:nvSpPr>
        <p:spPr>
          <a:xfrm>
            <a:off x="3275856" y="1923678"/>
            <a:ext cx="5184576" cy="103001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dirty="0">
                <a:solidFill>
                  <a:schemeClr val="accent1"/>
                </a:solidFill>
              </a:rPr>
              <a:t>· Biochemistry degree at University of Barcelona</a:t>
            </a:r>
          </a:p>
          <a:p>
            <a:r>
              <a:rPr lang="en-US" sz="1600" dirty="0">
                <a:solidFill>
                  <a:schemeClr val="accent1"/>
                </a:solidFill>
              </a:rPr>
              <a:t>· Master in Bioinformatics &amp; Biostatistics</a:t>
            </a:r>
          </a:p>
          <a:p>
            <a:endParaRPr lang="en-US" sz="1600" dirty="0">
              <a:solidFill>
                <a:schemeClr val="accent1"/>
              </a:solidFill>
            </a:endParaRPr>
          </a:p>
          <a:p>
            <a:r>
              <a:rPr lang="en-US" sz="1600" dirty="0">
                <a:solidFill>
                  <a:schemeClr val="accent1"/>
                </a:solidFill>
              </a:rPr>
              <a:t>· Co-founded a company about </a:t>
            </a:r>
            <a:r>
              <a:rPr lang="en-US" sz="1600" dirty="0" err="1">
                <a:solidFill>
                  <a:schemeClr val="accent1"/>
                </a:solidFill>
              </a:rPr>
              <a:t>DeepLearning</a:t>
            </a:r>
            <a:r>
              <a:rPr lang="en-US" sz="1600" dirty="0">
                <a:solidFill>
                  <a:schemeClr val="accent1"/>
                </a:solidFill>
              </a:rPr>
              <a:t> for skin-cancer detection</a:t>
            </a:r>
          </a:p>
          <a:p>
            <a:r>
              <a:rPr lang="en-US" sz="1600" dirty="0">
                <a:solidFill>
                  <a:schemeClr val="accent1"/>
                </a:solidFill>
              </a:rPr>
              <a:t>· 2-years as an Expert Data Scientist at Novartis Pharma</a:t>
            </a:r>
          </a:p>
          <a:p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034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Introduction to the problem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7202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8881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dirty="0"/>
              <a:t>The drug production process is an expensive and long process</a:t>
            </a:r>
          </a:p>
        </p:txBody>
      </p:sp>
      <p:pic>
        <p:nvPicPr>
          <p:cNvPr id="16386" name="Picture 2" descr="The drug development and approval process is about much more than the final  “okay”">
            <a:extLst>
              <a:ext uri="{FF2B5EF4-FFF2-40B4-BE49-F238E27FC236}">
                <a16:creationId xmlns:a16="http://schemas.microsoft.com/office/drawing/2014/main" id="{62222E36-701D-47AD-9B26-43DF7BB5EA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11" b="18593"/>
          <a:stretch/>
        </p:blipFill>
        <p:spPr bwMode="auto">
          <a:xfrm>
            <a:off x="971600" y="1203598"/>
            <a:ext cx="7200800" cy="3433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1552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265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dirty="0"/>
              <a:t>Typical lifecycle curve upon approval of a dru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12F28D-5D1E-4F7D-B748-0D95855385EC}"/>
              </a:ext>
            </a:extLst>
          </p:cNvPr>
          <p:cNvGrpSpPr/>
          <p:nvPr/>
        </p:nvGrpSpPr>
        <p:grpSpPr>
          <a:xfrm>
            <a:off x="1091982" y="987574"/>
            <a:ext cx="6960035" cy="3472690"/>
            <a:chOff x="683568" y="1303819"/>
            <a:chExt cx="5690469" cy="2833690"/>
          </a:xfrm>
        </p:grpSpPr>
        <p:grpSp>
          <p:nvGrpSpPr>
            <p:cNvPr id="67" name="Group 66"/>
            <p:cNvGrpSpPr/>
            <p:nvPr/>
          </p:nvGrpSpPr>
          <p:grpSpPr>
            <a:xfrm>
              <a:off x="683568" y="1303819"/>
              <a:ext cx="5690469" cy="2833690"/>
              <a:chOff x="465707" y="478830"/>
              <a:chExt cx="8208912" cy="4409555"/>
            </a:xfrm>
          </p:grpSpPr>
          <p:sp>
            <p:nvSpPr>
              <p:cNvPr id="50" name="Rounded Rectangle 49"/>
              <p:cNvSpPr/>
              <p:nvPr/>
            </p:nvSpPr>
            <p:spPr>
              <a:xfrm>
                <a:off x="1853068" y="4443958"/>
                <a:ext cx="6821551" cy="444427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Commercialization</a:t>
                </a:r>
              </a:p>
            </p:txBody>
          </p:sp>
          <p:sp>
            <p:nvSpPr>
              <p:cNvPr id="51" name="Rounded Rectangle 50"/>
              <p:cNvSpPr/>
              <p:nvPr/>
            </p:nvSpPr>
            <p:spPr>
              <a:xfrm>
                <a:off x="465707" y="4443958"/>
                <a:ext cx="1296142" cy="444427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R&amp;D</a:t>
                </a:r>
              </a:p>
            </p:txBody>
          </p:sp>
          <p:sp>
            <p:nvSpPr>
              <p:cNvPr id="52" name="Rounded Rectangle 51"/>
              <p:cNvSpPr/>
              <p:nvPr/>
            </p:nvSpPr>
            <p:spPr>
              <a:xfrm>
                <a:off x="991188" y="478830"/>
                <a:ext cx="1655930" cy="482739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>
                    <a:solidFill>
                      <a:schemeClr val="accent1"/>
                    </a:solidFill>
                  </a:rPr>
                  <a:t>Product launch</a:t>
                </a:r>
              </a:p>
            </p:txBody>
          </p:sp>
          <p:sp>
            <p:nvSpPr>
              <p:cNvPr id="53" name="Rounded Rectangle 52"/>
              <p:cNvSpPr/>
              <p:nvPr/>
            </p:nvSpPr>
            <p:spPr>
              <a:xfrm>
                <a:off x="4769168" y="478830"/>
                <a:ext cx="1765904" cy="482739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>
                    <a:solidFill>
                      <a:schemeClr val="accent1"/>
                    </a:solidFill>
                  </a:rPr>
                  <a:t>Gx Entry</a:t>
                </a:r>
              </a:p>
            </p:txBody>
          </p:sp>
          <p:cxnSp>
            <p:nvCxnSpPr>
              <p:cNvPr id="47" name="Straight Connector 46"/>
              <p:cNvCxnSpPr/>
              <p:nvPr/>
            </p:nvCxnSpPr>
            <p:spPr>
              <a:xfrm>
                <a:off x="3635896" y="1558121"/>
                <a:ext cx="0" cy="2592288"/>
              </a:xfrm>
              <a:prstGeom prst="line">
                <a:avLst/>
              </a:prstGeom>
              <a:ln w="25400">
                <a:solidFill>
                  <a:schemeClr val="accent4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>
                <a:off x="5652120" y="1558121"/>
                <a:ext cx="7423" cy="2592288"/>
              </a:xfrm>
              <a:prstGeom prst="line">
                <a:avLst/>
              </a:prstGeom>
              <a:ln w="25400">
                <a:solidFill>
                  <a:schemeClr val="accent4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Box 60"/>
              <p:cNvSpPr txBox="1"/>
              <p:nvPr/>
            </p:nvSpPr>
            <p:spPr>
              <a:xfrm>
                <a:off x="2198819" y="1151148"/>
                <a:ext cx="1512169" cy="431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1"/>
                    </a:solidFill>
                  </a:rPr>
                  <a:t>Growth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4079985" y="1151148"/>
                <a:ext cx="1254425" cy="431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1"/>
                    </a:solidFill>
                  </a:rPr>
                  <a:t>Maturity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6311819" y="1154201"/>
                <a:ext cx="1512169" cy="431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1"/>
                    </a:solidFill>
                  </a:rPr>
                  <a:t>Decline</a:t>
                </a:r>
              </a:p>
            </p:txBody>
          </p:sp>
          <p:cxnSp>
            <p:nvCxnSpPr>
              <p:cNvPr id="65" name="Straight Connector 64"/>
              <p:cNvCxnSpPr/>
              <p:nvPr/>
            </p:nvCxnSpPr>
            <p:spPr>
              <a:xfrm>
                <a:off x="1829820" y="1558121"/>
                <a:ext cx="0" cy="2669813"/>
              </a:xfrm>
              <a:prstGeom prst="line">
                <a:avLst/>
              </a:prstGeom>
              <a:ln w="25400">
                <a:solidFill>
                  <a:schemeClr val="accent4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TextBox 68"/>
            <p:cNvSpPr txBox="1"/>
            <p:nvPr/>
          </p:nvSpPr>
          <p:spPr>
            <a:xfrm>
              <a:off x="4769872" y="3215378"/>
              <a:ext cx="10482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/>
                <a:t>sales</a:t>
              </a:r>
            </a:p>
          </p:txBody>
        </p:sp>
        <p:cxnSp>
          <p:nvCxnSpPr>
            <p:cNvPr id="71" name="Straight Connector 70"/>
            <p:cNvCxnSpPr>
              <a:stCxn id="52" idx="2"/>
            </p:cNvCxnSpPr>
            <p:nvPr/>
          </p:nvCxnSpPr>
          <p:spPr>
            <a:xfrm flipH="1">
              <a:off x="1621785" y="1614039"/>
              <a:ext cx="1" cy="121828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H="1">
              <a:off x="4278821" y="1614989"/>
              <a:ext cx="1" cy="121828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309F42C-6E31-484D-9973-7747688FA53C}"/>
                </a:ext>
              </a:extLst>
            </p:cNvPr>
            <p:cNvSpPr/>
            <p:nvPr/>
          </p:nvSpPr>
          <p:spPr>
            <a:xfrm>
              <a:off x="1816759" y="2257766"/>
              <a:ext cx="3350239" cy="1342652"/>
            </a:xfrm>
            <a:custGeom>
              <a:avLst/>
              <a:gdLst>
                <a:gd name="connsiteX0" fmla="*/ 0 w 3311818"/>
                <a:gd name="connsiteY0" fmla="*/ 1296546 h 1296546"/>
                <a:gd name="connsiteX1" fmla="*/ 514830 w 3311818"/>
                <a:gd name="connsiteY1" fmla="*/ 920029 h 1296546"/>
                <a:gd name="connsiteX2" fmla="*/ 945136 w 3311818"/>
                <a:gd name="connsiteY2" fmla="*/ 151625 h 1296546"/>
                <a:gd name="connsiteX3" fmla="*/ 2558783 w 3311818"/>
                <a:gd name="connsiteY3" fmla="*/ 82469 h 1296546"/>
                <a:gd name="connsiteX4" fmla="*/ 2919932 w 3311818"/>
                <a:gd name="connsiteY4" fmla="*/ 1073709 h 1296546"/>
                <a:gd name="connsiteX5" fmla="*/ 3311818 w 3311818"/>
                <a:gd name="connsiteY5" fmla="*/ 1296546 h 1296546"/>
                <a:gd name="connsiteX6" fmla="*/ 3311818 w 3311818"/>
                <a:gd name="connsiteY6" fmla="*/ 1296546 h 1296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1818" h="1296546">
                  <a:moveTo>
                    <a:pt x="0" y="1296546"/>
                  </a:moveTo>
                  <a:cubicBezTo>
                    <a:pt x="178653" y="1203697"/>
                    <a:pt x="357307" y="1110849"/>
                    <a:pt x="514830" y="920029"/>
                  </a:cubicBezTo>
                  <a:cubicBezTo>
                    <a:pt x="672353" y="729209"/>
                    <a:pt x="604477" y="291218"/>
                    <a:pt x="945136" y="151625"/>
                  </a:cubicBezTo>
                  <a:cubicBezTo>
                    <a:pt x="1285795" y="12032"/>
                    <a:pt x="2229650" y="-71212"/>
                    <a:pt x="2558783" y="82469"/>
                  </a:cubicBezTo>
                  <a:cubicBezTo>
                    <a:pt x="2887916" y="236150"/>
                    <a:pt x="2794426" y="871363"/>
                    <a:pt x="2919932" y="1073709"/>
                  </a:cubicBezTo>
                  <a:cubicBezTo>
                    <a:pt x="3045438" y="1276055"/>
                    <a:pt x="3311818" y="1296546"/>
                    <a:pt x="3311818" y="1296546"/>
                  </a:cubicBezTo>
                  <a:lnTo>
                    <a:pt x="3311818" y="1296546"/>
                  </a:lnTo>
                </a:path>
              </a:pathLst>
            </a:cu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69690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836103" y="5112355"/>
            <a:ext cx="3384376" cy="449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973" y="212328"/>
            <a:ext cx="8229600" cy="960919"/>
          </a:xfrm>
        </p:spPr>
        <p:txBody>
          <a:bodyPr/>
          <a:lstStyle/>
          <a:p>
            <a:r>
              <a:rPr lang="en-US" dirty="0"/>
              <a:t>Challenge: Definition</a:t>
            </a:r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611560" y="752405"/>
            <a:ext cx="8280920" cy="65669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The main goal of the Capstone Project is to improve the benchmark forecasts by modelling the lifecycle scenario. Particularly, the challenge focuses on modelling Decline-Maturity // Growth-Maturity transition by understanding the behavior of past cases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2E5A82F-C404-4838-8962-851CDCD52A08}"/>
              </a:ext>
            </a:extLst>
          </p:cNvPr>
          <p:cNvGrpSpPr/>
          <p:nvPr/>
        </p:nvGrpSpPr>
        <p:grpSpPr>
          <a:xfrm>
            <a:off x="1482191" y="1699174"/>
            <a:ext cx="6179617" cy="3252285"/>
            <a:chOff x="-252536" y="1487140"/>
            <a:chExt cx="7651965" cy="371411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23CC381-7D27-4025-B6B7-12D0581C0C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980" t="8576" r="1571"/>
            <a:stretch/>
          </p:blipFill>
          <p:spPr>
            <a:xfrm>
              <a:off x="-252536" y="1503484"/>
              <a:ext cx="6768752" cy="3427688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43F052E-D407-4D58-817E-A53289195911}"/>
                </a:ext>
              </a:extLst>
            </p:cNvPr>
            <p:cNvSpPr/>
            <p:nvPr/>
          </p:nvSpPr>
          <p:spPr>
            <a:xfrm>
              <a:off x="-125238" y="1647500"/>
              <a:ext cx="576064" cy="266429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AE6364C-A2EE-4DB1-97DD-2823F487B8D0}"/>
                </a:ext>
              </a:extLst>
            </p:cNvPr>
            <p:cNvSpPr/>
            <p:nvPr/>
          </p:nvSpPr>
          <p:spPr>
            <a:xfrm>
              <a:off x="1763688" y="1647500"/>
              <a:ext cx="720080" cy="144016"/>
            </a:xfrm>
            <a:prstGeom prst="rect">
              <a:avLst/>
            </a:prstGeom>
            <a:solidFill>
              <a:srgbClr val="EBEBEB"/>
            </a:solidFill>
            <a:ln>
              <a:solidFill>
                <a:srgbClr val="EBEB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36F2127-DC86-443E-B138-067EA6E9EBEF}"/>
                </a:ext>
              </a:extLst>
            </p:cNvPr>
            <p:cNvSpPr/>
            <p:nvPr/>
          </p:nvSpPr>
          <p:spPr>
            <a:xfrm>
              <a:off x="1691680" y="1827155"/>
              <a:ext cx="720080" cy="90192"/>
            </a:xfrm>
            <a:prstGeom prst="rect">
              <a:avLst/>
            </a:prstGeom>
            <a:solidFill>
              <a:srgbClr val="EBEBEB"/>
            </a:solidFill>
            <a:ln>
              <a:solidFill>
                <a:srgbClr val="EBEB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/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A9437A2-82A7-43B6-91D9-E4C97D4BAD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981" t="8576" r="95909"/>
            <a:stretch/>
          </p:blipFill>
          <p:spPr>
            <a:xfrm>
              <a:off x="140420" y="1529380"/>
              <a:ext cx="208756" cy="3312368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E168360-66F7-4CA2-98EC-56B959FE8722}"/>
                </a:ext>
              </a:extLst>
            </p:cNvPr>
            <p:cNvSpPr/>
            <p:nvPr/>
          </p:nvSpPr>
          <p:spPr>
            <a:xfrm>
              <a:off x="5601640" y="2837271"/>
              <a:ext cx="1368152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171FEBD-E612-4AFA-8716-40469AE827C3}"/>
                </a:ext>
              </a:extLst>
            </p:cNvPr>
            <p:cNvSpPr txBox="1"/>
            <p:nvPr/>
          </p:nvSpPr>
          <p:spPr>
            <a:xfrm>
              <a:off x="5502695" y="2799628"/>
              <a:ext cx="1556261" cy="263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/>
                <a:t>Volume</a:t>
              </a:r>
              <a:endParaRPr lang="en-US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BDDAB8C-B525-4EC3-9923-9620E7CD0C8D}"/>
                </a:ext>
              </a:extLst>
            </p:cNvPr>
            <p:cNvSpPr txBox="1"/>
            <p:nvPr/>
          </p:nvSpPr>
          <p:spPr>
            <a:xfrm>
              <a:off x="5502846" y="3117578"/>
              <a:ext cx="1698594" cy="281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Stabilized brand</a:t>
              </a:r>
              <a:endParaRPr lang="en-US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DC6146F-C408-4D0C-BD78-3CE1ADAF066D}"/>
                </a:ext>
              </a:extLst>
            </p:cNvPr>
            <p:cNvSpPr txBox="1"/>
            <p:nvPr/>
          </p:nvSpPr>
          <p:spPr>
            <a:xfrm>
              <a:off x="5488516" y="2939343"/>
              <a:ext cx="1910913" cy="281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Benchmark</a:t>
              </a:r>
              <a:endParaRPr lang="en-US" dirty="0"/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2939C650-C487-4AC5-B234-1915A576D2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6050" y="2035524"/>
              <a:ext cx="1656184" cy="12961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87F7F75-2016-493F-AB52-764D6501A0B3}"/>
                </a:ext>
              </a:extLst>
            </p:cNvPr>
            <p:cNvSpPr txBox="1"/>
            <p:nvPr/>
          </p:nvSpPr>
          <p:spPr>
            <a:xfrm>
              <a:off x="1115616" y="2151556"/>
              <a:ext cx="846707" cy="2987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Growth</a:t>
              </a:r>
              <a:endParaRPr lang="en-US" sz="12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ABB4232-D191-4EB6-90F0-986DBECFF100}"/>
                </a:ext>
              </a:extLst>
            </p:cNvPr>
            <p:cNvSpPr txBox="1"/>
            <p:nvPr/>
          </p:nvSpPr>
          <p:spPr>
            <a:xfrm>
              <a:off x="3360869" y="1487140"/>
              <a:ext cx="915635" cy="2987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/>
                <a:t>Maturity</a:t>
              </a:r>
              <a:endParaRPr lang="en-US" sz="1100" dirty="0"/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DFFAA53E-132E-433A-A002-03914465DEA2}"/>
                </a:ext>
              </a:extLst>
            </p:cNvPr>
            <p:cNvCxnSpPr>
              <a:cxnSpLocks/>
            </p:cNvCxnSpPr>
            <p:nvPr/>
          </p:nvCxnSpPr>
          <p:spPr>
            <a:xfrm>
              <a:off x="2908780" y="1944567"/>
              <a:ext cx="202326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625C7F2A-9C68-4FC8-8B71-EDDE31C1F40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77488" y="1503484"/>
              <a:ext cx="16184" cy="3312368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C9F65B4-93DB-4EB7-A5FA-B9BB521E1814}"/>
                </a:ext>
              </a:extLst>
            </p:cNvPr>
            <p:cNvSpPr txBox="1"/>
            <p:nvPr/>
          </p:nvSpPr>
          <p:spPr>
            <a:xfrm>
              <a:off x="2043835" y="4814629"/>
              <a:ext cx="3541621" cy="3866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Transition moment</a:t>
              </a:r>
              <a:endParaRPr lang="en-US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F3F0B34-83D8-40E1-ACFD-A2E2FA8B1041}"/>
              </a:ext>
            </a:extLst>
          </p:cNvPr>
          <p:cNvSpPr txBox="1"/>
          <p:nvPr/>
        </p:nvSpPr>
        <p:spPr>
          <a:xfrm>
            <a:off x="6719759" y="1665804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owth-Maturity</a:t>
            </a:r>
          </a:p>
        </p:txBody>
      </p:sp>
    </p:spTree>
    <p:extLst>
      <p:ext uri="{BB962C8B-B14F-4D97-AF65-F5344CB8AC3E}">
        <p14:creationId xmlns:p14="http://schemas.microsoft.com/office/powerpoint/2010/main" val="483344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6816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973" y="212328"/>
            <a:ext cx="8229600" cy="960919"/>
          </a:xfrm>
        </p:spPr>
        <p:txBody>
          <a:bodyPr vert="horz"/>
          <a:lstStyle/>
          <a:p>
            <a:r>
              <a:rPr lang="en-US" dirty="0"/>
              <a:t>Challenge: Definition</a:t>
            </a:r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611560" y="752405"/>
            <a:ext cx="8280920" cy="65669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The main goal of the Capstone Project is to improve the benchmark forecasts by modelling the lifecycle scenario. Particularly, the challenge focuses on modelling Decline-Maturity // Growth-Maturity transition by understanding the behavior of past cases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9354648-52AD-4469-8E23-BF1C99CC1F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28" y="1851670"/>
            <a:ext cx="7877149" cy="2875062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6E28435-DA41-454C-9DAC-5CC7E53CC850}"/>
              </a:ext>
            </a:extLst>
          </p:cNvPr>
          <p:cNvCxnSpPr/>
          <p:nvPr/>
        </p:nvCxnSpPr>
        <p:spPr>
          <a:xfrm>
            <a:off x="6385004" y="3862224"/>
            <a:ext cx="1512168" cy="49353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6EE8A98F-4FEB-443D-ABCF-DB82066F2033}"/>
              </a:ext>
            </a:extLst>
          </p:cNvPr>
          <p:cNvSpPr/>
          <p:nvPr/>
        </p:nvSpPr>
        <p:spPr>
          <a:xfrm>
            <a:off x="6809844" y="3999146"/>
            <a:ext cx="1556310" cy="121920"/>
          </a:xfrm>
          <a:custGeom>
            <a:avLst/>
            <a:gdLst>
              <a:gd name="connsiteX0" fmla="*/ 0 w 1556310"/>
              <a:gd name="connsiteY0" fmla="*/ 0 h 121920"/>
              <a:gd name="connsiteX1" fmla="*/ 91440 w 1556310"/>
              <a:gd name="connsiteY1" fmla="*/ 30480 h 121920"/>
              <a:gd name="connsiteX2" fmla="*/ 152400 w 1556310"/>
              <a:gd name="connsiteY2" fmla="*/ 40640 h 121920"/>
              <a:gd name="connsiteX3" fmla="*/ 243840 w 1556310"/>
              <a:gd name="connsiteY3" fmla="*/ 55880 h 121920"/>
              <a:gd name="connsiteX4" fmla="*/ 325120 w 1556310"/>
              <a:gd name="connsiteY4" fmla="*/ 76200 h 121920"/>
              <a:gd name="connsiteX5" fmla="*/ 426720 w 1556310"/>
              <a:gd name="connsiteY5" fmla="*/ 86360 h 121920"/>
              <a:gd name="connsiteX6" fmla="*/ 497840 w 1556310"/>
              <a:gd name="connsiteY6" fmla="*/ 96520 h 121920"/>
              <a:gd name="connsiteX7" fmla="*/ 558800 w 1556310"/>
              <a:gd name="connsiteY7" fmla="*/ 106680 h 121920"/>
              <a:gd name="connsiteX8" fmla="*/ 629920 w 1556310"/>
              <a:gd name="connsiteY8" fmla="*/ 111760 h 121920"/>
              <a:gd name="connsiteX9" fmla="*/ 726440 w 1556310"/>
              <a:gd name="connsiteY9" fmla="*/ 116840 h 121920"/>
              <a:gd name="connsiteX10" fmla="*/ 807720 w 1556310"/>
              <a:gd name="connsiteY10" fmla="*/ 121920 h 121920"/>
              <a:gd name="connsiteX11" fmla="*/ 1417320 w 1556310"/>
              <a:gd name="connsiteY11" fmla="*/ 116840 h 121920"/>
              <a:gd name="connsiteX12" fmla="*/ 1488440 w 1556310"/>
              <a:gd name="connsiteY12" fmla="*/ 111760 h 12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56310" h="121920">
                <a:moveTo>
                  <a:pt x="0" y="0"/>
                </a:moveTo>
                <a:cubicBezTo>
                  <a:pt x="34262" y="13705"/>
                  <a:pt x="48312" y="20129"/>
                  <a:pt x="91440" y="30480"/>
                </a:cubicBezTo>
                <a:cubicBezTo>
                  <a:pt x="111471" y="35288"/>
                  <a:pt x="132164" y="36785"/>
                  <a:pt x="152400" y="40640"/>
                </a:cubicBezTo>
                <a:cubicBezTo>
                  <a:pt x="237364" y="56824"/>
                  <a:pt x="158761" y="46427"/>
                  <a:pt x="243840" y="55880"/>
                </a:cubicBezTo>
                <a:cubicBezTo>
                  <a:pt x="278030" y="67277"/>
                  <a:pt x="284252" y="70751"/>
                  <a:pt x="325120" y="76200"/>
                </a:cubicBezTo>
                <a:cubicBezTo>
                  <a:pt x="358857" y="80698"/>
                  <a:pt x="392918" y="82383"/>
                  <a:pt x="426720" y="86360"/>
                </a:cubicBezTo>
                <a:cubicBezTo>
                  <a:pt x="450503" y="89158"/>
                  <a:pt x="474171" y="92879"/>
                  <a:pt x="497840" y="96520"/>
                </a:cubicBezTo>
                <a:cubicBezTo>
                  <a:pt x="518201" y="99652"/>
                  <a:pt x="538335" y="104319"/>
                  <a:pt x="558800" y="106680"/>
                </a:cubicBezTo>
                <a:cubicBezTo>
                  <a:pt x="582410" y="109404"/>
                  <a:pt x="606196" y="110322"/>
                  <a:pt x="629920" y="111760"/>
                </a:cubicBezTo>
                <a:lnTo>
                  <a:pt x="726440" y="116840"/>
                </a:lnTo>
                <a:lnTo>
                  <a:pt x="807720" y="121920"/>
                </a:lnTo>
                <a:lnTo>
                  <a:pt x="1417320" y="116840"/>
                </a:lnTo>
                <a:cubicBezTo>
                  <a:pt x="1823092" y="110500"/>
                  <a:pt x="1180076" y="111760"/>
                  <a:pt x="1488440" y="111760"/>
                </a:cubicBezTo>
              </a:path>
            </a:pathLst>
          </a:custGeom>
          <a:noFill/>
          <a:ln w="2857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0CC4866-DBED-431E-9F48-4A8B5EFBA261}"/>
              </a:ext>
            </a:extLst>
          </p:cNvPr>
          <p:cNvSpPr txBox="1"/>
          <p:nvPr/>
        </p:nvSpPr>
        <p:spPr>
          <a:xfrm>
            <a:off x="7315017" y="1467147"/>
            <a:ext cx="47257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Decline-Maturity</a:t>
            </a:r>
            <a:endParaRPr lang="en-US" dirty="0"/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ECEAABC9-4CEB-4184-BB0E-C062DC16672D}"/>
              </a:ext>
            </a:extLst>
          </p:cNvPr>
          <p:cNvCxnSpPr>
            <a:cxnSpLocks/>
          </p:cNvCxnSpPr>
          <p:nvPr/>
        </p:nvCxnSpPr>
        <p:spPr>
          <a:xfrm>
            <a:off x="5220072" y="3053371"/>
            <a:ext cx="1908212" cy="7306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5F2A5010-FE96-462C-88BA-4B7AEC2FBBF3}"/>
              </a:ext>
            </a:extLst>
          </p:cNvPr>
          <p:cNvSpPr txBox="1"/>
          <p:nvPr/>
        </p:nvSpPr>
        <p:spPr>
          <a:xfrm>
            <a:off x="5864234" y="2950647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ecline</a:t>
            </a:r>
            <a:endParaRPr lang="en-US" dirty="0"/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9E0C0FCA-2CF3-4475-9DCB-85D1EBE39B72}"/>
              </a:ext>
            </a:extLst>
          </p:cNvPr>
          <p:cNvCxnSpPr>
            <a:cxnSpLocks/>
          </p:cNvCxnSpPr>
          <p:nvPr/>
        </p:nvCxnSpPr>
        <p:spPr>
          <a:xfrm>
            <a:off x="7400676" y="3753823"/>
            <a:ext cx="992991" cy="26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9D0285B3-D989-4B27-A966-76F4DD406ECA}"/>
              </a:ext>
            </a:extLst>
          </p:cNvPr>
          <p:cNvSpPr txBox="1"/>
          <p:nvPr/>
        </p:nvSpPr>
        <p:spPr>
          <a:xfrm>
            <a:off x="7430085" y="3163165"/>
            <a:ext cx="9156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aturity</a:t>
            </a:r>
            <a:endParaRPr lang="en-US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EC5B141-22EB-46C8-A02A-3F46A18935BA}"/>
              </a:ext>
            </a:extLst>
          </p:cNvPr>
          <p:cNvSpPr/>
          <p:nvPr/>
        </p:nvSpPr>
        <p:spPr>
          <a:xfrm>
            <a:off x="5479130" y="4554789"/>
            <a:ext cx="3384376" cy="449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CAF3DBB-0253-449A-A168-11B1F83DE79E}"/>
              </a:ext>
            </a:extLst>
          </p:cNvPr>
          <p:cNvSpPr txBox="1"/>
          <p:nvPr/>
        </p:nvSpPr>
        <p:spPr>
          <a:xfrm>
            <a:off x="6489935" y="4804946"/>
            <a:ext cx="1876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ransition moment</a:t>
            </a:r>
            <a:endParaRPr lang="en-US" dirty="0"/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A6FC5DA-33D2-4A42-BA78-FBBAB6A6C601}"/>
              </a:ext>
            </a:extLst>
          </p:cNvPr>
          <p:cNvCxnSpPr>
            <a:cxnSpLocks/>
          </p:cNvCxnSpPr>
          <p:nvPr/>
        </p:nvCxnSpPr>
        <p:spPr>
          <a:xfrm flipH="1">
            <a:off x="7323588" y="1493801"/>
            <a:ext cx="16184" cy="331236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6275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zLpx.giYEDRZZ_QPbk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zLpx.giYEDRZZ_QPbk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WktuyBh3u0bpjrqC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WktuyBh3u0bpjrqC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RBPigZOhepK_x1P8S.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WktuyBh3u0bpjrqC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WktuyBh3u0bpjrqC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WktuyBh3u0bpjrqC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CMMRahVW96bP7_ci5K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zLpx.giYEDRZZ_QPbk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2016">
  <a:themeElements>
    <a:clrScheme name="Custom 6">
      <a:dk1>
        <a:srgbClr val="000000"/>
      </a:dk1>
      <a:lt1>
        <a:srgbClr val="FFFFFF"/>
      </a:lt1>
      <a:dk2>
        <a:srgbClr val="9D9D9C"/>
      </a:dk2>
      <a:lt2>
        <a:srgbClr val="C6C6C6"/>
      </a:lt2>
      <a:accent1>
        <a:srgbClr val="023761"/>
      </a:accent1>
      <a:accent2>
        <a:srgbClr val="0460A9"/>
      </a:accent2>
      <a:accent3>
        <a:srgbClr val="5191DD"/>
      </a:accent3>
      <a:accent4>
        <a:srgbClr val="9ABFDC"/>
      </a:accent4>
      <a:accent5>
        <a:srgbClr val="C6C6C6"/>
      </a:accent5>
      <a:accent6>
        <a:srgbClr val="9D9D9C"/>
      </a:accent6>
      <a:hlink>
        <a:srgbClr val="000000"/>
      </a:hlink>
      <a:folHlink>
        <a:srgbClr val="9D9D9C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C19B7BDB-81E6-4748-828F-5C5B12C9BF0B}" vid="{D724004F-CA97-47E7-9722-BAB7CE1591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B9BB6B4A84EF4F9567524FBCC54761" ma:contentTypeVersion="12" ma:contentTypeDescription="Create a new document." ma:contentTypeScope="" ma:versionID="dfaf92a2630cad7ec206ec7f4196eaa1">
  <xsd:schema xmlns:xsd="http://www.w3.org/2001/XMLSchema" xmlns:xs="http://www.w3.org/2001/XMLSchema" xmlns:p="http://schemas.microsoft.com/office/2006/metadata/properties" xmlns:ns3="57763582-4ecb-406f-ab78-4d00c632986c" xmlns:ns4="fbf9803b-99d7-46eb-a044-af6a27775015" targetNamespace="http://schemas.microsoft.com/office/2006/metadata/properties" ma:root="true" ma:fieldsID="749cceeae1060dcb2ed5faeed6f54c31" ns3:_="" ns4:_="">
    <xsd:import namespace="57763582-4ecb-406f-ab78-4d00c632986c"/>
    <xsd:import namespace="fbf9803b-99d7-46eb-a044-af6a2777501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763582-4ecb-406f-ab78-4d00c63298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f9803b-99d7-46eb-a044-af6a27775015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5867F92-DC7C-48D8-9F9B-9BB4297A6A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DCCB29-F8AC-4032-BE07-8C23624276A0}">
  <ds:schemaRefs>
    <ds:schemaRef ds:uri="http://www.w3.org/XML/1998/namespace"/>
    <ds:schemaRef ds:uri="http://purl.org/dc/dcmitype/"/>
    <ds:schemaRef ds:uri="http://schemas.microsoft.com/office/2006/documentManagement/types"/>
    <ds:schemaRef ds:uri="fbf9803b-99d7-46eb-a044-af6a27775015"/>
    <ds:schemaRef ds:uri="57763582-4ecb-406f-ab78-4d00c632986c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B738D01-060A-4F55-B241-CF6F807E28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7763582-4ecb-406f-ab78-4d00c632986c"/>
    <ds:schemaRef ds:uri="fbf9803b-99d7-46eb-a044-af6a277750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19</Words>
  <Application>Microsoft Office PowerPoint</Application>
  <PresentationFormat>On-screen Show (16:9)</PresentationFormat>
  <Paragraphs>116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Arial Black</vt:lpstr>
      <vt:lpstr>Cambria Math</vt:lpstr>
      <vt:lpstr>Wingdings</vt:lpstr>
      <vt:lpstr>Novartis 2016</vt:lpstr>
      <vt:lpstr>think-cell Slide</vt:lpstr>
      <vt:lpstr>Columbia Capstone Project: Lifecycle</vt:lpstr>
      <vt:lpstr>Agenda</vt:lpstr>
      <vt:lpstr>PowerPoint Presentation</vt:lpstr>
      <vt:lpstr>About me</vt:lpstr>
      <vt:lpstr>PowerPoint Presentation</vt:lpstr>
      <vt:lpstr>The drug production process is an expensive and long process</vt:lpstr>
      <vt:lpstr>Typical lifecycle curve upon approval of a drug</vt:lpstr>
      <vt:lpstr>Challenge: Definition</vt:lpstr>
      <vt:lpstr>Challenge: Definition</vt:lpstr>
      <vt:lpstr>Information Provided in Datasets</vt:lpstr>
      <vt:lpstr>Challenge: Tasks</vt:lpstr>
      <vt:lpstr>PowerPoint Presentation</vt:lpstr>
      <vt:lpstr>Usual workflow of a ML project</vt:lpstr>
      <vt:lpstr>Steps</vt:lpstr>
      <vt:lpstr>PowerPoint Presentation</vt:lpstr>
      <vt:lpstr>Metrics</vt:lpstr>
      <vt:lpstr>Metrics</vt:lpstr>
      <vt:lpstr>Final Evaluation Metric</vt:lpstr>
      <vt:lpstr>PowerPoint Presentation</vt:lpstr>
    </vt:vector>
  </TitlesOfParts>
  <Company>Novarti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is Arial Black 32pt, 1 to 2 lines maximum</dc:title>
  <dc:creator>Sofronas, Georgios</dc:creator>
  <cp:lastModifiedBy>Matamoros, Eric</cp:lastModifiedBy>
  <cp:revision>910</cp:revision>
  <cp:lastPrinted>2017-09-27T16:10:53Z</cp:lastPrinted>
  <dcterms:created xsi:type="dcterms:W3CDTF">2020-10-26T15:37:06Z</dcterms:created>
  <dcterms:modified xsi:type="dcterms:W3CDTF">2022-09-26T13:4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erName">
    <vt:lpwstr/>
  </property>
  <property fmtid="{D5CDD505-2E9C-101B-9397-08002B2CF9AE}" pid="3" name="ConfidentialityLevel">
    <vt:lpwstr>None (no value displayed on slides)</vt:lpwstr>
  </property>
  <property fmtid="{D5CDD505-2E9C-101B-9397-08002B2CF9AE}" pid="4" name="HideFooter">
    <vt:bool>false</vt:bool>
  </property>
  <property fmtid="{D5CDD505-2E9C-101B-9397-08002B2CF9AE}" pid="5" name="ContentTypeId">
    <vt:lpwstr>0x0101007AB9BB6B4A84EF4F9567524FBCC54761</vt:lpwstr>
  </property>
  <property fmtid="{D5CDD505-2E9C-101B-9397-08002B2CF9AE}" pid="6" name="MSIP_Label_4929bff8-5b33-42aa-95d2-28f72e792cb0_Enabled">
    <vt:lpwstr>true</vt:lpwstr>
  </property>
  <property fmtid="{D5CDD505-2E9C-101B-9397-08002B2CF9AE}" pid="7" name="MSIP_Label_4929bff8-5b33-42aa-95d2-28f72e792cb0_SetDate">
    <vt:lpwstr>2020-11-24T10:10:48Z</vt:lpwstr>
  </property>
  <property fmtid="{D5CDD505-2E9C-101B-9397-08002B2CF9AE}" pid="8" name="MSIP_Label_4929bff8-5b33-42aa-95d2-28f72e792cb0_Method">
    <vt:lpwstr>Privileged</vt:lpwstr>
  </property>
  <property fmtid="{D5CDD505-2E9C-101B-9397-08002B2CF9AE}" pid="9" name="MSIP_Label_4929bff8-5b33-42aa-95d2-28f72e792cb0_Name">
    <vt:lpwstr>Internal</vt:lpwstr>
  </property>
  <property fmtid="{D5CDD505-2E9C-101B-9397-08002B2CF9AE}" pid="10" name="MSIP_Label_4929bff8-5b33-42aa-95d2-28f72e792cb0_SiteId">
    <vt:lpwstr>f35a6974-607f-47d4-82d7-ff31d7dc53a5</vt:lpwstr>
  </property>
  <property fmtid="{D5CDD505-2E9C-101B-9397-08002B2CF9AE}" pid="11" name="MSIP_Label_4929bff8-5b33-42aa-95d2-28f72e792cb0_ActionId">
    <vt:lpwstr>41a7e0aa-8fe5-49d2-9699-b1c6ae6f765d</vt:lpwstr>
  </property>
  <property fmtid="{D5CDD505-2E9C-101B-9397-08002B2CF9AE}" pid="12" name="MSIP_Label_4929bff8-5b33-42aa-95d2-28f72e792cb0_ContentBits">
    <vt:lpwstr>0</vt:lpwstr>
  </property>
</Properties>
</file>